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8.xml" ContentType="application/vnd.openxmlformats-officedocument.theme+xml"/>
  <Override PartName="/ppt/tags/tag372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83" r:id="rId4"/>
    <p:sldMasterId id="2147483890" r:id="rId5"/>
    <p:sldMasterId id="2147483915" r:id="rId6"/>
    <p:sldMasterId id="2147483928" r:id="rId7"/>
    <p:sldMasterId id="2147483941" r:id="rId8"/>
    <p:sldMasterId id="2147483960" r:id="rId9"/>
    <p:sldMasterId id="2147484002" r:id="rId10"/>
    <p:sldMasterId id="2147483673" r:id="rId11"/>
  </p:sldMasterIdLst>
  <p:notesMasterIdLst>
    <p:notesMasterId r:id="rId19"/>
  </p:notesMasterIdLst>
  <p:sldIdLst>
    <p:sldId id="2147469361" r:id="rId12"/>
    <p:sldId id="2147469358" r:id="rId13"/>
    <p:sldId id="2147469362" r:id="rId14"/>
    <p:sldId id="2147469363" r:id="rId15"/>
    <p:sldId id="2147469364" r:id="rId16"/>
    <p:sldId id="2147469365" r:id="rId17"/>
    <p:sldId id="2147469366" r:id="rId18"/>
  </p:sldIdLst>
  <p:sldSz cx="12192000" cy="6858000"/>
  <p:notesSz cx="7102475" cy="9388475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3B7F667-D484-BD08-4788-AB569E16ADF0}" name="Raúl Izquierdo" initials="RI" userId="S::rizquierdof@bcp.com.pe::ffaa9221-8f6f-4f38-b313-8bc10317209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dro Garcia" initials="PG" lastIdx="1" clrIdx="0">
    <p:extLst>
      <p:ext uri="{19B8F6BF-5375-455C-9EA6-DF929625EA0E}">
        <p15:presenceInfo xmlns:p15="http://schemas.microsoft.com/office/powerpoint/2012/main" userId="S::Pedro_Garcia@mckinsey.com::b41336d8-205e-429b-bec4-7f234f6b2cff" providerId="AD"/>
      </p:ext>
    </p:extLst>
  </p:cmAuthor>
  <p:cmAuthor id="2" name="Cristina Barrantes Suyoc" initials="CBS" lastIdx="1" clrIdx="1">
    <p:extLst>
      <p:ext uri="{19B8F6BF-5375-455C-9EA6-DF929625EA0E}">
        <p15:presenceInfo xmlns:p15="http://schemas.microsoft.com/office/powerpoint/2012/main" userId="S::cristinabarrantes@bcp.com.pe::df8f7eb1-4604-41de-acb0-b55c2a7f4e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93"/>
    <a:srgbClr val="13547E"/>
    <a:srgbClr val="08C67E"/>
    <a:srgbClr val="7A81FF"/>
    <a:srgbClr val="723E9F"/>
    <a:srgbClr val="009051"/>
    <a:srgbClr val="FFDDDD"/>
    <a:srgbClr val="FFC1C1"/>
    <a:srgbClr val="D4ECBA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B6D190-B600-49B9-8027-197F941CDD92}" v="9" dt="2024-01-09T19:21:33.4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7292A2E-F333-43FB-9621-5CBBE7FDCDCB}" styleName="Estilo claro 2 - Acento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75DCB02-9BB8-47FD-8907-85C794F793BA}" styleName="Estilo temático 1 - Énfasis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E171933-4619-4E11-9A3F-F7608DF75F80}" styleName="Estilo medio 1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736" autoAdjust="0"/>
  </p:normalViewPr>
  <p:slideViewPr>
    <p:cSldViewPr snapToGrid="0">
      <p:cViewPr varScale="1">
        <p:scale>
          <a:sx n="64" d="100"/>
          <a:sy n="64" d="100"/>
        </p:scale>
        <p:origin x="72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43397F-D168-7E4C-959C-03F52148DBAF}" type="datetimeFigureOut">
              <a:rPr lang="en-US" smtClean="0"/>
              <a:t>6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30DA1F-EA67-734A-A0BE-5C2A9C72F3C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34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30DA1F-EA67-734A-A0BE-5C2A9C72F3C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281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Rating bcp4 negocios ya esta cargándose al DDV, ajustar arquitectura.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30DA1F-EA67-734A-A0BE-5C2A9C72F3C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651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71E0A3-2A32-A8BE-BA59-C3C6275699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50A2FA4-18EC-21AF-70C9-EC07B7644B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45C1730D-E657-3A70-720D-9E2AD4D92C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D5A22E5-7D67-CB69-A057-63DC4C22DD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30DA1F-EA67-734A-A0BE-5C2A9C72F3C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796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22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2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25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25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tags" Target="../tags/tag67.xml"/><Relationship Id="rId7" Type="http://schemas.openxmlformats.org/officeDocument/2006/relationships/oleObject" Target="../embeddings/oleObject15.bin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image" Target="../media/image26.emf"/><Relationship Id="rId2" Type="http://schemas.openxmlformats.org/officeDocument/2006/relationships/tags" Target="../tags/tag71.xml"/><Relationship Id="rId16" Type="http://schemas.openxmlformats.org/officeDocument/2006/relationships/oleObject" Target="../embeddings/oleObject16.bin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10" Type="http://schemas.openxmlformats.org/officeDocument/2006/relationships/image" Target="../media/image26.emf"/><Relationship Id="rId4" Type="http://schemas.openxmlformats.org/officeDocument/2006/relationships/tags" Target="../tags/tag87.xml"/><Relationship Id="rId9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2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8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29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124.xml"/><Relationship Id="rId7" Type="http://schemas.openxmlformats.org/officeDocument/2006/relationships/oleObject" Target="../embeddings/oleObject26.bin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6.xml"/><Relationship Id="rId4" Type="http://schemas.openxmlformats.org/officeDocument/2006/relationships/tags" Target="../tags/tag12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2" Type="http://schemas.openxmlformats.org/officeDocument/2006/relationships/tags" Target="../tags/tag128.xml"/><Relationship Id="rId16" Type="http://schemas.openxmlformats.org/officeDocument/2006/relationships/image" Target="../media/image30.emf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5" Type="http://schemas.openxmlformats.org/officeDocument/2006/relationships/tags" Target="../tags/tag131.xml"/><Relationship Id="rId15" Type="http://schemas.openxmlformats.org/officeDocument/2006/relationships/oleObject" Target="../embeddings/oleObject27.bin"/><Relationship Id="rId10" Type="http://schemas.openxmlformats.org/officeDocument/2006/relationships/tags" Target="../tags/tag136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14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Relationship Id="rId9" Type="http://schemas.openxmlformats.org/officeDocument/2006/relationships/image" Target="../media/image30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6.xml"/><Relationship Id="rId4" Type="http://schemas.openxmlformats.org/officeDocument/2006/relationships/image" Target="../media/image30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14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image" Target="../media/image30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8.png"/><Relationship Id="rId18" Type="http://schemas.openxmlformats.org/officeDocument/2006/relationships/image" Target="../media/image13.sv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7.svg"/><Relationship Id="rId17" Type="http://schemas.openxmlformats.org/officeDocument/2006/relationships/image" Target="../media/image12.png"/><Relationship Id="rId2" Type="http://schemas.openxmlformats.org/officeDocument/2006/relationships/tags" Target="../tags/tag24.xml"/><Relationship Id="rId16" Type="http://schemas.openxmlformats.org/officeDocument/2006/relationships/image" Target="../media/image11.svg"/><Relationship Id="rId20" Type="http://schemas.openxmlformats.org/officeDocument/2006/relationships/image" Target="../media/image15.svg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6.png"/><Relationship Id="rId5" Type="http://schemas.openxmlformats.org/officeDocument/2006/relationships/tags" Target="../tags/tag27.xml"/><Relationship Id="rId15" Type="http://schemas.openxmlformats.org/officeDocument/2006/relationships/image" Target="../media/image10.png"/><Relationship Id="rId10" Type="http://schemas.openxmlformats.org/officeDocument/2006/relationships/image" Target="../media/image5.emf"/><Relationship Id="rId19" Type="http://schemas.openxmlformats.org/officeDocument/2006/relationships/image" Target="../media/image14.png"/><Relationship Id="rId4" Type="http://schemas.openxmlformats.org/officeDocument/2006/relationships/tags" Target="../tags/tag26.xml"/><Relationship Id="rId9" Type="http://schemas.openxmlformats.org/officeDocument/2006/relationships/oleObject" Target="../embeddings/oleObject4.bin"/><Relationship Id="rId14" Type="http://schemas.openxmlformats.org/officeDocument/2006/relationships/image" Target="../media/image9.sv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15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4" Type="http://schemas.openxmlformats.org/officeDocument/2006/relationships/tags" Target="../tags/tag156.xml"/><Relationship Id="rId9" Type="http://schemas.openxmlformats.org/officeDocument/2006/relationships/image" Target="../media/image3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2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28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29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190.xml"/><Relationship Id="rId7" Type="http://schemas.openxmlformats.org/officeDocument/2006/relationships/oleObject" Target="../embeddings/oleObject39.bin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tags" Target="../tags/tag205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tags" Target="../tags/tag204.xml"/><Relationship Id="rId2" Type="http://schemas.openxmlformats.org/officeDocument/2006/relationships/tags" Target="../tags/tag194.xml"/><Relationship Id="rId16" Type="http://schemas.openxmlformats.org/officeDocument/2006/relationships/image" Target="../media/image30.emf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5" Type="http://schemas.openxmlformats.org/officeDocument/2006/relationships/oleObject" Target="../embeddings/oleObject40.bin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20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5" Type="http://schemas.openxmlformats.org/officeDocument/2006/relationships/tags" Target="../tags/tag210.xml"/><Relationship Id="rId4" Type="http://schemas.openxmlformats.org/officeDocument/2006/relationships/tags" Target="../tags/tag209.xml"/><Relationship Id="rId9" Type="http://schemas.openxmlformats.org/officeDocument/2006/relationships/image" Target="../media/image30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2.xml"/><Relationship Id="rId4" Type="http://schemas.openxmlformats.org/officeDocument/2006/relationships/image" Target="../media/image30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.bin"/><Relationship Id="rId3" Type="http://schemas.openxmlformats.org/officeDocument/2006/relationships/tags" Target="../tags/tag215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5" Type="http://schemas.openxmlformats.org/officeDocument/2006/relationships/tags" Target="../tags/tag217.xml"/><Relationship Id="rId4" Type="http://schemas.openxmlformats.org/officeDocument/2006/relationships/tags" Target="../tags/tag216.xml"/><Relationship Id="rId9" Type="http://schemas.openxmlformats.org/officeDocument/2006/relationships/image" Target="../media/image30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image" Target="../media/image32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4.png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image" Target="../media/image3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image" Target="../media/image3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7.jpeg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image" Target="../media/image36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7.jpe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image" Target="../media/image36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7.jpeg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36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6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0.png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48.bin"/><Relationship Id="rId9" Type="http://schemas.openxmlformats.org/officeDocument/2006/relationships/image" Target="../media/image4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0.png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1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0.png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1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4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image" Target="../media/image43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3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image" Target="../media/image44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4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55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56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image" Target="../media/image32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4.png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image" Target="../media/image3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image" Target="../media/image3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0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7.jpeg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image" Target="../media/image36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7.jpeg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image" Target="../media/image36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7.jpeg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image" Target="../media/image36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0.png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63.bin"/><Relationship Id="rId9" Type="http://schemas.openxmlformats.org/officeDocument/2006/relationships/image" Target="../media/image4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0.png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image" Target="../media/image1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0.png"/><Relationship Id="rId2" Type="http://schemas.openxmlformats.org/officeDocument/2006/relationships/tags" Target="../tags/tag304.xml"/><Relationship Id="rId1" Type="http://schemas.openxmlformats.org/officeDocument/2006/relationships/tags" Target="../tags/tag303.xml"/><Relationship Id="rId6" Type="http://schemas.openxmlformats.org/officeDocument/2006/relationships/image" Target="../media/image1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image" Target="../media/image4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image" Target="../media/image43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6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image" Target="../media/image44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48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6.xml"/><Relationship Id="rId1" Type="http://schemas.openxmlformats.org/officeDocument/2006/relationships/tags" Target="../tags/tag315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65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image" Target="../media/image21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3.png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image" Target="../media/image22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image" Target="../media/image2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image" Target="../media/image25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image" Target="../media/image25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9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349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357.xml"/><Relationship Id="rId13" Type="http://schemas.openxmlformats.org/officeDocument/2006/relationships/slideMaster" Target="../slideMasters/slideMaster7.xml"/><Relationship Id="rId3" Type="http://schemas.openxmlformats.org/officeDocument/2006/relationships/tags" Target="../tags/tag352.xml"/><Relationship Id="rId7" Type="http://schemas.openxmlformats.org/officeDocument/2006/relationships/tags" Target="../tags/tag356.xml"/><Relationship Id="rId12" Type="http://schemas.openxmlformats.org/officeDocument/2006/relationships/tags" Target="../tags/tag361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tags" Target="../tags/tag355.xml"/><Relationship Id="rId11" Type="http://schemas.openxmlformats.org/officeDocument/2006/relationships/tags" Target="../tags/tag360.xml"/><Relationship Id="rId5" Type="http://schemas.openxmlformats.org/officeDocument/2006/relationships/tags" Target="../tags/tag354.xml"/><Relationship Id="rId10" Type="http://schemas.openxmlformats.org/officeDocument/2006/relationships/tags" Target="../tags/tag359.xml"/><Relationship Id="rId4" Type="http://schemas.openxmlformats.org/officeDocument/2006/relationships/tags" Target="../tags/tag353.xml"/><Relationship Id="rId9" Type="http://schemas.openxmlformats.org/officeDocument/2006/relationships/tags" Target="../tags/tag35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364.xml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66.xml"/><Relationship Id="rId4" Type="http://schemas.openxmlformats.org/officeDocument/2006/relationships/tags" Target="../tags/tag36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369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71.xml"/><Relationship Id="rId4" Type="http://schemas.openxmlformats.org/officeDocument/2006/relationships/tags" Target="../tags/tag37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21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8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655853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15C8C78C-7F33-4A6B-87A1-75A5656AD06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639396" y="1240193"/>
            <a:ext cx="6552605" cy="4368338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 userDrawn="1"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 userDrawn="1"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n-US" sz="1837"/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 userDrawn="1"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 userDrawn="1"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37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 userDrawn="1"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1C1D061B-23AF-46A0-9322-57E283404A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27845" y="0"/>
            <a:ext cx="2349744" cy="575048"/>
          </a:xfrm>
          <a:custGeom>
            <a:avLst/>
            <a:gdLst>
              <a:gd name="connsiteX0" fmla="*/ 0 w 2302933"/>
              <a:gd name="connsiteY0" fmla="*/ 0 h 563600"/>
              <a:gd name="connsiteX1" fmla="*/ 2103664 w 2302933"/>
              <a:gd name="connsiteY1" fmla="*/ 0 h 563600"/>
              <a:gd name="connsiteX2" fmla="*/ 2302933 w 2302933"/>
              <a:gd name="connsiteY2" fmla="*/ 563600 h 563600"/>
              <a:gd name="connsiteX3" fmla="*/ 199269 w 2302933"/>
              <a:gd name="connsiteY3" fmla="*/ 563600 h 563600"/>
              <a:gd name="connsiteX4" fmla="*/ 0 w 2302933"/>
              <a:gd name="connsiteY4" fmla="*/ 0 h 5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2933" h="563600">
                <a:moveTo>
                  <a:pt x="0" y="0"/>
                </a:moveTo>
                <a:lnTo>
                  <a:pt x="2103664" y="0"/>
                </a:lnTo>
                <a:lnTo>
                  <a:pt x="2302933" y="563600"/>
                </a:lnTo>
                <a:lnTo>
                  <a:pt x="199269" y="563600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622653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7475482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15C8C78C-7F33-4A6B-87A1-75A5656AD06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639396" y="1240193"/>
            <a:ext cx="6552605" cy="4368338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837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1C1D061B-23AF-46A0-9322-57E283404A7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5024" t="39512" r="19274" b="50000"/>
          <a:stretch>
            <a:fillRect/>
          </a:stretch>
        </p:blipFill>
        <p:spPr>
          <a:xfrm>
            <a:off x="4027845" y="0"/>
            <a:ext cx="2349744" cy="575048"/>
          </a:xfrm>
          <a:custGeom>
            <a:avLst/>
            <a:gdLst>
              <a:gd name="connsiteX0" fmla="*/ 0 w 2302933"/>
              <a:gd name="connsiteY0" fmla="*/ 0 h 563600"/>
              <a:gd name="connsiteX1" fmla="*/ 2103664 w 2302933"/>
              <a:gd name="connsiteY1" fmla="*/ 0 h 563600"/>
              <a:gd name="connsiteX2" fmla="*/ 2302933 w 2302933"/>
              <a:gd name="connsiteY2" fmla="*/ 563600 h 563600"/>
              <a:gd name="connsiteX3" fmla="*/ 199269 w 2302933"/>
              <a:gd name="connsiteY3" fmla="*/ 563600 h 563600"/>
              <a:gd name="connsiteX4" fmla="*/ 0 w 2302933"/>
              <a:gd name="connsiteY4" fmla="*/ 0 h 5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2933" h="563600">
                <a:moveTo>
                  <a:pt x="0" y="0"/>
                </a:moveTo>
                <a:lnTo>
                  <a:pt x="2103664" y="0"/>
                </a:lnTo>
                <a:lnTo>
                  <a:pt x="2302933" y="563600"/>
                </a:lnTo>
                <a:lnTo>
                  <a:pt x="199269" y="563600"/>
                </a:lnTo>
                <a:lnTo>
                  <a:pt x="0" y="0"/>
                </a:lnTo>
                <a:close/>
              </a:path>
            </a:pathLst>
          </a:custGeom>
        </p:spPr>
      </p:pic>
      <p:grpSp>
        <p:nvGrpSpPr>
          <p:cNvPr id="29" name="LogoImage">
            <a:extLst>
              <a:ext uri="{FF2B5EF4-FFF2-40B4-BE49-F238E27FC236}">
                <a16:creationId xmlns:a16="http://schemas.microsoft.com/office/drawing/2014/main" id="{F854849A-57E5-497F-BE9B-A6CC7E47D7E7}"/>
              </a:ext>
            </a:extLst>
          </p:cNvPr>
          <p:cNvGrpSpPr/>
          <p:nvPr userDrawn="1"/>
        </p:nvGrpSpPr>
        <p:grpSpPr>
          <a:xfrm>
            <a:off x="3726338" y="5666487"/>
            <a:ext cx="3085436" cy="981221"/>
            <a:chOff x="3029003" y="258214"/>
            <a:chExt cx="1706951" cy="542847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A18BFC72-CE2B-41C8-9785-985E3BD50FE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029003" y="258214"/>
              <a:ext cx="1706951" cy="5428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sz="1632">
                <a:latin typeface="Theinhardt Pan Light" panose="020B0404020101020102" pitchFamily="34" charset="0"/>
              </a:endParaRPr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78E3880A-715E-4390-B929-7CFBF8E728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29003" y="258443"/>
              <a:ext cx="1706951" cy="542618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sz="1632">
                <a:latin typeface="Theinhardt Pan Light" panose="020B0404020101020102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40527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450"/>
          <a:stretch/>
        </p:blipFill>
        <p:spPr>
          <a:xfrm>
            <a:off x="2" y="2"/>
            <a:ext cx="12192001" cy="16758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35167"/>
            <a:ext cx="6402943" cy="962465"/>
          </a:xfrm>
        </p:spPr>
        <p:txBody>
          <a:bodyPr>
            <a:normAutofit/>
          </a:bodyPr>
          <a:lstStyle>
            <a:lvl1pPr>
              <a:defRPr sz="2767" b="1" i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77739"/>
            <a:fld id="{BB80D13C-A399-CB4B-9583-FD266A279EE4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/>
              <a:t>23/06/2025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8" y="6099953"/>
            <a:ext cx="1160511" cy="611783"/>
          </a:xfrm>
          <a:prstGeom prst="rect">
            <a:avLst/>
          </a:prstGeom>
        </p:spPr>
      </p:pic>
      <p:pic>
        <p:nvPicPr>
          <p:cNvPr id="8" name="Imagen 3">
            <a:extLst>
              <a:ext uri="{FF2B5EF4-FFF2-40B4-BE49-F238E27FC236}">
                <a16:creationId xmlns:a16="http://schemas.microsoft.com/office/drawing/2014/main" id="{12933E22-AB31-492C-85FC-4355807024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450"/>
          <a:stretch/>
        </p:blipFill>
        <p:spPr>
          <a:xfrm>
            <a:off x="2" y="2"/>
            <a:ext cx="12192001" cy="1675821"/>
          </a:xfrm>
          <a:prstGeom prst="rect">
            <a:avLst/>
          </a:prstGeom>
        </p:spPr>
      </p:pic>
      <p:pic>
        <p:nvPicPr>
          <p:cNvPr id="11" name="Imagen 4">
            <a:extLst>
              <a:ext uri="{FF2B5EF4-FFF2-40B4-BE49-F238E27FC236}">
                <a16:creationId xmlns:a16="http://schemas.microsoft.com/office/drawing/2014/main" id="{036DD183-D6D0-4A43-AC34-855C0752D5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8" y="6099953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3451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0641582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954" name="Picture 546" descr="https://www.bcp.com.bo/Content/images/Otros/imagen001.jpg">
            <a:extLst>
              <a:ext uri="{FF2B5EF4-FFF2-40B4-BE49-F238E27FC236}">
                <a16:creationId xmlns:a16="http://schemas.microsoft.com/office/drawing/2014/main" id="{3EA97854-121E-4682-AC9F-6396B15824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615"/>
          <a:stretch/>
        </p:blipFill>
        <p:spPr bwMode="auto">
          <a:xfrm>
            <a:off x="4409560" y="984027"/>
            <a:ext cx="7782440" cy="48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68F6781-56A0-43F1-A5CE-A7A1FA08FECD}"/>
              </a:ext>
            </a:extLst>
          </p:cNvPr>
          <p:cNvSpPr>
            <a:spLocks/>
          </p:cNvSpPr>
          <p:nvPr/>
        </p:nvSpPr>
        <p:spPr>
          <a:xfrm>
            <a:off x="5549497" y="4721190"/>
            <a:ext cx="3157771" cy="2136809"/>
          </a:xfrm>
          <a:custGeom>
            <a:avLst/>
            <a:gdLst>
              <a:gd name="connsiteX0" fmla="*/ 0 w 3094862"/>
              <a:gd name="connsiteY0" fmla="*/ 0 h 2094271"/>
              <a:gd name="connsiteX1" fmla="*/ 2354400 w 3094862"/>
              <a:gd name="connsiteY1" fmla="*/ 0 h 2094271"/>
              <a:gd name="connsiteX2" fmla="*/ 2358072 w 3094862"/>
              <a:gd name="connsiteY2" fmla="*/ 0 h 2094271"/>
              <a:gd name="connsiteX3" fmla="*/ 2358072 w 3094862"/>
              <a:gd name="connsiteY3" fmla="*/ 10386 h 2094271"/>
              <a:gd name="connsiteX4" fmla="*/ 3094862 w 3094862"/>
              <a:gd name="connsiteY4" fmla="*/ 2094271 h 2094271"/>
              <a:gd name="connsiteX5" fmla="*/ 736790 w 3094862"/>
              <a:gd name="connsiteY5" fmla="*/ 2094271 h 2094271"/>
              <a:gd name="connsiteX6" fmla="*/ 0 w 3094862"/>
              <a:gd name="connsiteY6" fmla="*/ 10386 h 2094271"/>
              <a:gd name="connsiteX7" fmla="*/ 0 w 3094862"/>
              <a:gd name="connsiteY7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94862" h="2094271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3094862" y="2094271"/>
                </a:lnTo>
                <a:lnTo>
                  <a:pt x="736790" y="2094271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837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</p:spTree>
    <p:extLst>
      <p:ext uri="{BB962C8B-B14F-4D97-AF65-F5344CB8AC3E}">
        <p14:creationId xmlns:p14="http://schemas.microsoft.com/office/powerpoint/2010/main" val="37583516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748238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28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890993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849" y="1"/>
            <a:ext cx="10287152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2F09DA5-2894-4EC1-9C90-665D9D6A5B9E}"/>
              </a:ext>
            </a:extLst>
          </p:cNvPr>
          <p:cNvSpPr>
            <a:spLocks/>
          </p:cNvSpPr>
          <p:nvPr/>
        </p:nvSpPr>
        <p:spPr>
          <a:xfrm>
            <a:off x="1" y="-1"/>
            <a:ext cx="12192000" cy="6858000"/>
          </a:xfrm>
          <a:prstGeom prst="rect">
            <a:avLst/>
          </a:prstGeom>
          <a:solidFill>
            <a:srgbClr val="F39D1D">
              <a:alpha val="6705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1A62CCF-F230-4083-B80D-8EFF998D4248}"/>
              </a:ext>
            </a:extLst>
          </p:cNvPr>
          <p:cNvSpPr>
            <a:spLocks/>
          </p:cNvSpPr>
          <p:nvPr userDrawn="1"/>
        </p:nvSpPr>
        <p:spPr>
          <a:xfrm>
            <a:off x="1" y="1"/>
            <a:ext cx="9111058" cy="6858000"/>
          </a:xfrm>
          <a:custGeom>
            <a:avLst/>
            <a:gdLst>
              <a:gd name="connsiteX0" fmla="*/ 0 w 8929549"/>
              <a:gd name="connsiteY0" fmla="*/ 0 h 6721475"/>
              <a:gd name="connsiteX1" fmla="*/ 1797646 w 8929549"/>
              <a:gd name="connsiteY1" fmla="*/ 0 h 6721475"/>
              <a:gd name="connsiteX2" fmla="*/ 1888573 w 8929549"/>
              <a:gd name="connsiteY2" fmla="*/ 0 h 6721475"/>
              <a:gd name="connsiteX3" fmla="*/ 2866850 w 8929549"/>
              <a:gd name="connsiteY3" fmla="*/ 0 h 6721475"/>
              <a:gd name="connsiteX4" fmla="*/ 2870522 w 8929549"/>
              <a:gd name="connsiteY4" fmla="*/ 0 h 6721475"/>
              <a:gd name="connsiteX5" fmla="*/ 3686219 w 8929549"/>
              <a:gd name="connsiteY5" fmla="*/ 0 h 6721475"/>
              <a:gd name="connsiteX6" fmla="*/ 4664496 w 8929549"/>
              <a:gd name="connsiteY6" fmla="*/ 0 h 6721475"/>
              <a:gd name="connsiteX7" fmla="*/ 4668168 w 8929549"/>
              <a:gd name="connsiteY7" fmla="*/ 0 h 6721475"/>
              <a:gd name="connsiteX8" fmla="*/ 4755423 w 8929549"/>
              <a:gd name="connsiteY8" fmla="*/ 0 h 6721475"/>
              <a:gd name="connsiteX9" fmla="*/ 4759095 w 8929549"/>
              <a:gd name="connsiteY9" fmla="*/ 0 h 6721475"/>
              <a:gd name="connsiteX10" fmla="*/ 6553069 w 8929549"/>
              <a:gd name="connsiteY10" fmla="*/ 0 h 6721475"/>
              <a:gd name="connsiteX11" fmla="*/ 6556741 w 8929549"/>
              <a:gd name="connsiteY11" fmla="*/ 0 h 6721475"/>
              <a:gd name="connsiteX12" fmla="*/ 6556741 w 8929549"/>
              <a:gd name="connsiteY12" fmla="*/ 10386 h 6721475"/>
              <a:gd name="connsiteX13" fmla="*/ 8929549 w 8929549"/>
              <a:gd name="connsiteY13" fmla="*/ 6721475 h 6721475"/>
              <a:gd name="connsiteX14" fmla="*/ 7131903 w 8929549"/>
              <a:gd name="connsiteY14" fmla="*/ 6721475 h 6721475"/>
              <a:gd name="connsiteX15" fmla="*/ 7040976 w 8929549"/>
              <a:gd name="connsiteY15" fmla="*/ 6721475 h 6721475"/>
              <a:gd name="connsiteX16" fmla="*/ 5243330 w 8929549"/>
              <a:gd name="connsiteY16" fmla="*/ 6721475 h 6721475"/>
              <a:gd name="connsiteX17" fmla="*/ 3686219 w 8929549"/>
              <a:gd name="connsiteY17" fmla="*/ 6721475 h 6721475"/>
              <a:gd name="connsiteX18" fmla="*/ 1888573 w 8929549"/>
              <a:gd name="connsiteY18" fmla="*/ 6721475 h 6721475"/>
              <a:gd name="connsiteX19" fmla="*/ 1797646 w 8929549"/>
              <a:gd name="connsiteY19" fmla="*/ 6721475 h 6721475"/>
              <a:gd name="connsiteX20" fmla="*/ 0 w 8929549"/>
              <a:gd name="connsiteY2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929549" h="6721475">
                <a:moveTo>
                  <a:pt x="0" y="0"/>
                </a:moveTo>
                <a:lnTo>
                  <a:pt x="1797646" y="0"/>
                </a:ln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3686219" y="0"/>
                </a:lnTo>
                <a:lnTo>
                  <a:pt x="4664496" y="0"/>
                </a:lnTo>
                <a:lnTo>
                  <a:pt x="4668168" y="0"/>
                </a:lnTo>
                <a:lnTo>
                  <a:pt x="4755423" y="0"/>
                </a:lnTo>
                <a:lnTo>
                  <a:pt x="4759095" y="0"/>
                </a:lnTo>
                <a:lnTo>
                  <a:pt x="6553069" y="0"/>
                </a:lnTo>
                <a:lnTo>
                  <a:pt x="6556741" y="0"/>
                </a:lnTo>
                <a:lnTo>
                  <a:pt x="6556741" y="10386"/>
                </a:lnTo>
                <a:lnTo>
                  <a:pt x="8929549" y="6721475"/>
                </a:lnTo>
                <a:lnTo>
                  <a:pt x="7131903" y="6721475"/>
                </a:lnTo>
                <a:lnTo>
                  <a:pt x="7040976" y="6721475"/>
                </a:lnTo>
                <a:lnTo>
                  <a:pt x="5243330" y="6721475"/>
                </a:lnTo>
                <a:lnTo>
                  <a:pt x="3686219" y="6721475"/>
                </a:lnTo>
                <a:lnTo>
                  <a:pt x="1888573" y="6721475"/>
                </a:lnTo>
                <a:lnTo>
                  <a:pt x="1797646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5B3C1C9-164C-45D0-AE40-099216F858A4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27163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Nº›</a:t>
            </a:fld>
            <a:endParaRPr lang="en-US" sz="816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A091C01-859B-4D5E-A46D-7F6F795C667F}"/>
              </a:ext>
            </a:extLst>
          </p:cNvPr>
          <p:cNvGrpSpPr/>
          <p:nvPr/>
        </p:nvGrpSpPr>
        <p:grpSpPr>
          <a:xfrm>
            <a:off x="10829030" y="6608570"/>
            <a:ext cx="618531" cy="165283"/>
            <a:chOff x="4797041" y="952089"/>
            <a:chExt cx="2281238" cy="609599"/>
          </a:xfrm>
          <a:solidFill>
            <a:schemeClr val="bg1"/>
          </a:solidFill>
        </p:grpSpPr>
        <p:sp>
          <p:nvSpPr>
            <p:cNvPr id="14" name="Freeform 538">
              <a:extLst>
                <a:ext uri="{FF2B5EF4-FFF2-40B4-BE49-F238E27FC236}">
                  <a16:creationId xmlns:a16="http://schemas.microsoft.com/office/drawing/2014/main" id="{1EEA9E48-40F1-4821-856D-CFC901698D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5" name="Freeform 539">
              <a:extLst>
                <a:ext uri="{FF2B5EF4-FFF2-40B4-BE49-F238E27FC236}">
                  <a16:creationId xmlns:a16="http://schemas.microsoft.com/office/drawing/2014/main" id="{1BC14002-6AC7-43A0-B8FC-6FDAA1EF5D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6" name="Freeform 540">
              <a:extLst>
                <a:ext uri="{FF2B5EF4-FFF2-40B4-BE49-F238E27FC236}">
                  <a16:creationId xmlns:a16="http://schemas.microsoft.com/office/drawing/2014/main" id="{CE175A35-FD80-4EAC-B7C8-A2B57FC263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7" name="Freeform 541">
              <a:extLst>
                <a:ext uri="{FF2B5EF4-FFF2-40B4-BE49-F238E27FC236}">
                  <a16:creationId xmlns:a16="http://schemas.microsoft.com/office/drawing/2014/main" id="{6AD157DA-7E3C-4887-BCF8-2390422DB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8" name="Freeform 542">
              <a:extLst>
                <a:ext uri="{FF2B5EF4-FFF2-40B4-BE49-F238E27FC236}">
                  <a16:creationId xmlns:a16="http://schemas.microsoft.com/office/drawing/2014/main" id="{0AC7FD69-DF48-4BE9-830A-FAECD1F40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9" name="Freeform 543">
              <a:extLst>
                <a:ext uri="{FF2B5EF4-FFF2-40B4-BE49-F238E27FC236}">
                  <a16:creationId xmlns:a16="http://schemas.microsoft.com/office/drawing/2014/main" id="{C3320177-C075-41D2-8D4D-084DB9CC0E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20" name="Freeform 544">
              <a:extLst>
                <a:ext uri="{FF2B5EF4-FFF2-40B4-BE49-F238E27FC236}">
                  <a16:creationId xmlns:a16="http://schemas.microsoft.com/office/drawing/2014/main" id="{9965B84C-9390-47C0-9D84-BE84FD66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B2E4C0F-B532-4C36-8D02-51D33DE6C75D}"/>
              </a:ext>
            </a:extLst>
          </p:cNvPr>
          <p:cNvCxnSpPr>
            <a:cxnSpLocks/>
          </p:cNvCxnSpPr>
          <p:nvPr/>
        </p:nvCxnSpPr>
        <p:spPr>
          <a:xfrm>
            <a:off x="11495662" y="6560370"/>
            <a:ext cx="105233" cy="29763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3CCCC03-A808-48EC-A7E1-59D7CD8E471A}"/>
              </a:ext>
            </a:extLst>
          </p:cNvPr>
          <p:cNvCxnSpPr>
            <a:cxnSpLocks/>
          </p:cNvCxnSpPr>
          <p:nvPr/>
        </p:nvCxnSpPr>
        <p:spPr>
          <a:xfrm>
            <a:off x="11495662" y="6560370"/>
            <a:ext cx="3351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158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94868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1" r="19937"/>
          <a:stretch/>
        </p:blipFill>
        <p:spPr>
          <a:xfrm>
            <a:off x="4353939" y="1"/>
            <a:ext cx="7838062" cy="68580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AA7070E-4118-4494-BAD2-8DBA04DB9A84}"/>
              </a:ext>
            </a:extLst>
          </p:cNvPr>
          <p:cNvSpPr>
            <a:spLocks/>
          </p:cNvSpPr>
          <p:nvPr/>
        </p:nvSpPr>
        <p:spPr>
          <a:xfrm>
            <a:off x="0" y="1"/>
            <a:ext cx="6840595" cy="6858000"/>
          </a:xfrm>
          <a:custGeom>
            <a:avLst/>
            <a:gdLst>
              <a:gd name="connsiteX0" fmla="*/ 0 w 6704318"/>
              <a:gd name="connsiteY0" fmla="*/ 0 h 6721475"/>
              <a:gd name="connsiteX1" fmla="*/ 641619 w 6704318"/>
              <a:gd name="connsiteY1" fmla="*/ 0 h 6721475"/>
              <a:gd name="connsiteX2" fmla="*/ 645291 w 6704318"/>
              <a:gd name="connsiteY2" fmla="*/ 0 h 6721475"/>
              <a:gd name="connsiteX3" fmla="*/ 1460988 w 6704318"/>
              <a:gd name="connsiteY3" fmla="*/ 0 h 6721475"/>
              <a:gd name="connsiteX4" fmla="*/ 2439265 w 6704318"/>
              <a:gd name="connsiteY4" fmla="*/ 0 h 6721475"/>
              <a:gd name="connsiteX5" fmla="*/ 2442937 w 6704318"/>
              <a:gd name="connsiteY5" fmla="*/ 0 h 6721475"/>
              <a:gd name="connsiteX6" fmla="*/ 2530192 w 6704318"/>
              <a:gd name="connsiteY6" fmla="*/ 0 h 6721475"/>
              <a:gd name="connsiteX7" fmla="*/ 2533864 w 6704318"/>
              <a:gd name="connsiteY7" fmla="*/ 0 h 6721475"/>
              <a:gd name="connsiteX8" fmla="*/ 4327838 w 6704318"/>
              <a:gd name="connsiteY8" fmla="*/ 0 h 6721475"/>
              <a:gd name="connsiteX9" fmla="*/ 4331510 w 6704318"/>
              <a:gd name="connsiteY9" fmla="*/ 0 h 6721475"/>
              <a:gd name="connsiteX10" fmla="*/ 4331510 w 6704318"/>
              <a:gd name="connsiteY10" fmla="*/ 10386 h 6721475"/>
              <a:gd name="connsiteX11" fmla="*/ 6704318 w 6704318"/>
              <a:gd name="connsiteY11" fmla="*/ 6721475 h 6721475"/>
              <a:gd name="connsiteX12" fmla="*/ 4906672 w 6704318"/>
              <a:gd name="connsiteY12" fmla="*/ 6721475 h 6721475"/>
              <a:gd name="connsiteX13" fmla="*/ 4815745 w 6704318"/>
              <a:gd name="connsiteY13" fmla="*/ 6721475 h 6721475"/>
              <a:gd name="connsiteX14" fmla="*/ 3018099 w 6704318"/>
              <a:gd name="connsiteY14" fmla="*/ 6721475 h 6721475"/>
              <a:gd name="connsiteX15" fmla="*/ 1460988 w 6704318"/>
              <a:gd name="connsiteY15" fmla="*/ 6721475 h 6721475"/>
              <a:gd name="connsiteX16" fmla="*/ 0 w 6704318"/>
              <a:gd name="connsiteY16" fmla="*/ 6721475 h 6721475"/>
              <a:gd name="connsiteX17" fmla="*/ 0 w 6704318"/>
              <a:gd name="connsiteY17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04318" h="6721475">
                <a:moveTo>
                  <a:pt x="0" y="0"/>
                </a:moveTo>
                <a:lnTo>
                  <a:pt x="641619" y="0"/>
                </a:lnTo>
                <a:lnTo>
                  <a:pt x="645291" y="0"/>
                </a:lnTo>
                <a:lnTo>
                  <a:pt x="1460988" y="0"/>
                </a:lnTo>
                <a:lnTo>
                  <a:pt x="2439265" y="0"/>
                </a:lnTo>
                <a:lnTo>
                  <a:pt x="2442937" y="0"/>
                </a:lnTo>
                <a:lnTo>
                  <a:pt x="2530192" y="0"/>
                </a:lnTo>
                <a:lnTo>
                  <a:pt x="2533864" y="0"/>
                </a:lnTo>
                <a:lnTo>
                  <a:pt x="4327838" y="0"/>
                </a:lnTo>
                <a:lnTo>
                  <a:pt x="4331510" y="0"/>
                </a:lnTo>
                <a:lnTo>
                  <a:pt x="4331510" y="10386"/>
                </a:lnTo>
                <a:lnTo>
                  <a:pt x="6704318" y="6721475"/>
                </a:lnTo>
                <a:lnTo>
                  <a:pt x="4906672" y="6721475"/>
                </a:lnTo>
                <a:lnTo>
                  <a:pt x="4815745" y="6721475"/>
                </a:lnTo>
                <a:lnTo>
                  <a:pt x="3018099" y="6721475"/>
                </a:lnTo>
                <a:lnTo>
                  <a:pt x="1460988" y="6721475"/>
                </a:lnTo>
                <a:lnTo>
                  <a:pt x="0" y="672147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9B9250-2837-42B9-9997-131808FF9503}"/>
              </a:ext>
            </a:extLst>
          </p:cNvPr>
          <p:cNvGrpSpPr/>
          <p:nvPr/>
        </p:nvGrpSpPr>
        <p:grpSpPr>
          <a:xfrm>
            <a:off x="832779" y="2903658"/>
            <a:ext cx="3931927" cy="1050685"/>
            <a:chOff x="4797041" y="952089"/>
            <a:chExt cx="2281238" cy="609599"/>
          </a:xfrm>
        </p:grpSpPr>
        <p:sp>
          <p:nvSpPr>
            <p:cNvPr id="26" name="Freeform 538">
              <a:extLst>
                <a:ext uri="{FF2B5EF4-FFF2-40B4-BE49-F238E27FC236}">
                  <a16:creationId xmlns:a16="http://schemas.microsoft.com/office/drawing/2014/main" id="{B867A878-913F-47AE-A151-F55FDEC1EA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27" name="Freeform 539">
              <a:extLst>
                <a:ext uri="{FF2B5EF4-FFF2-40B4-BE49-F238E27FC236}">
                  <a16:creationId xmlns:a16="http://schemas.microsoft.com/office/drawing/2014/main" id="{3DC3CB76-26C6-4631-8C62-ABD7B3B492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28" name="Freeform 540">
              <a:extLst>
                <a:ext uri="{FF2B5EF4-FFF2-40B4-BE49-F238E27FC236}">
                  <a16:creationId xmlns:a16="http://schemas.microsoft.com/office/drawing/2014/main" id="{5675BF14-7787-4D15-A2C4-5109E68B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29" name="Freeform 541">
              <a:extLst>
                <a:ext uri="{FF2B5EF4-FFF2-40B4-BE49-F238E27FC236}">
                  <a16:creationId xmlns:a16="http://schemas.microsoft.com/office/drawing/2014/main" id="{549D4A3B-82C1-4AB5-ABB1-FF74D0CBC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30" name="Freeform 542">
              <a:extLst>
                <a:ext uri="{FF2B5EF4-FFF2-40B4-BE49-F238E27FC236}">
                  <a16:creationId xmlns:a16="http://schemas.microsoft.com/office/drawing/2014/main" id="{F4D1B063-2152-4213-ADC9-D6DC3545B7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31" name="Freeform 543">
              <a:extLst>
                <a:ext uri="{FF2B5EF4-FFF2-40B4-BE49-F238E27FC236}">
                  <a16:creationId xmlns:a16="http://schemas.microsoft.com/office/drawing/2014/main" id="{4C30F9F3-CAD7-45C3-83CF-A1E156B006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32" name="Freeform 544">
              <a:extLst>
                <a:ext uri="{FF2B5EF4-FFF2-40B4-BE49-F238E27FC236}">
                  <a16:creationId xmlns:a16="http://schemas.microsoft.com/office/drawing/2014/main" id="{CAFE6CEB-1DB4-4EAF-9377-14E5BA42C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</p:spTree>
    <p:extLst>
      <p:ext uri="{BB962C8B-B14F-4D97-AF65-F5344CB8AC3E}">
        <p14:creationId xmlns:p14="http://schemas.microsoft.com/office/powerpoint/2010/main" val="4016865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EC9080-D02B-4B3F-A473-7D69E5F66A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663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395" imgH="394" progId="TCLayout.ActiveDocument.1">
                  <p:embed/>
                </p:oleObj>
              </mc:Choice>
              <mc:Fallback>
                <p:oleObj name="Diapositiva de think-cell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EC9080-D02B-4B3F-A473-7D69E5F66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894B01F2-0F20-4749-9B38-DFD772EED8DC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7A51059-AF5B-44C9-972A-04EB79BED86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196185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6E2831-F58E-4C06-BC68-D48E85FA90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2226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6" imgW="395" imgH="394" progId="TCLayout.ActiveDocument.1">
                  <p:embed/>
                </p:oleObj>
              </mc:Choice>
              <mc:Fallback>
                <p:oleObj name="Diapositiva de think-cell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6E2831-F58E-4C06-BC68-D48E85FA90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3D3254-747F-48DA-AA47-ED973B1D7AD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653" b="0" i="0" baseline="0" noProof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3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2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2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1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A430C8A-E3B1-4D61-BEBE-3203872E20E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7" y="6501670"/>
            <a:ext cx="7275576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64666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5158E39-F220-4F5B-AED0-1748671B6C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54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395" imgH="394" progId="TCLayout.ActiveDocument.1">
                  <p:embed/>
                </p:oleObj>
              </mc:Choice>
              <mc:Fallback>
                <p:oleObj name="Diapositiva de think-cell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5158E39-F220-4F5B-AED0-1748671B6C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F6D9CA-EE9B-4AAC-A064-3635AE7BDCE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653" b="0" i="0" baseline="0" noProof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3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915504"/>
            <a:ext cx="11082528" cy="246221"/>
          </a:xfrm>
        </p:spPr>
        <p:txBody>
          <a:bodyPr wrap="square" anchor="b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BECE6BCA-B393-4492-91E9-DA14BD6787F1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5"/>
            </p:custDataLst>
          </p:nvPr>
        </p:nvSpPr>
        <p:spPr>
          <a:xfrm>
            <a:off x="7159753" y="8932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224189E-EF1A-4089-81EC-A18BAC8894F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447726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622D30-3B93-4FC7-94D0-195E1137A9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15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622D30-3B93-4FC7-94D0-195E1137A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CAD2A52-E610-4C8C-9AE0-2050225D75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653" b="0" i="0" baseline="0" noProof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350BFF-AC2A-4A78-9C8B-1F586F89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38386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65900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7C797C-09E0-4702-B415-DC7ECB3101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5985" y="997226"/>
            <a:ext cx="6626016" cy="4876745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rtl="0" eaLnBrk="1"/>
            <a:endParaRPr lang="es-PE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0" eaLnBrk="0" hangingPunct="1">
              <a:defRPr/>
            </a:pPr>
            <a:endParaRPr lang="es-PE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0" hangingPunct="1">
              <a:defRPr/>
            </a:pPr>
            <a:r>
              <a:rPr lang="es-PE" sz="1428" baseline="0" noProof="0" err="1">
                <a:solidFill>
                  <a:schemeClr val="accent4"/>
                </a:solidFill>
                <a:latin typeface="+mn-lt"/>
              </a:rPr>
              <a:t>Document</a:t>
            </a:r>
            <a:r>
              <a:rPr lang="es-PE" sz="1428" baseline="0" noProof="0">
                <a:solidFill>
                  <a:schemeClr val="accent4"/>
                </a:solidFill>
                <a:latin typeface="+mn-lt"/>
              </a:rPr>
              <a:t> </a:t>
            </a:r>
            <a:r>
              <a:rPr lang="es-PE" sz="1428" baseline="0" noProof="0" err="1">
                <a:solidFill>
                  <a:schemeClr val="accent4"/>
                </a:solidFill>
                <a:latin typeface="+mn-lt"/>
              </a:rPr>
              <a:t>type</a:t>
            </a:r>
            <a:r>
              <a:rPr lang="es-PE" sz="1428" baseline="0" noProof="0">
                <a:solidFill>
                  <a:schemeClr val="accent4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rtl="0" eaLnBrk="0" hangingPunct="0"/>
            <a:r>
              <a:rPr lang="es-PE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rtl="0" eaLnBrk="0" hangingPunct="0"/>
            <a:r>
              <a:rPr lang="es-PE" sz="816" baseline="0" err="1">
                <a:solidFill>
                  <a:schemeClr val="bg1"/>
                </a:solidFill>
                <a:latin typeface="+mn-lt"/>
              </a:rPr>
              <a:t>An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use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th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aterial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without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pecific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ermission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cKinsey &amp; Company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trictl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rohibited</a:t>
            </a:r>
            <a:endParaRPr lang="es-P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4A0DA11-94E0-4542-8DAA-020EDC8AC6C9}"/>
              </a:ext>
            </a:extLst>
          </p:cNvPr>
          <p:cNvSpPr>
            <a:spLocks/>
          </p:cNvSpPr>
          <p:nvPr/>
        </p:nvSpPr>
        <p:spPr>
          <a:xfrm>
            <a:off x="5810982" y="5521367"/>
            <a:ext cx="2874851" cy="1336633"/>
          </a:xfrm>
          <a:custGeom>
            <a:avLst/>
            <a:gdLst>
              <a:gd name="connsiteX0" fmla="*/ 0 w 2817579"/>
              <a:gd name="connsiteY0" fmla="*/ 0 h 1310024"/>
              <a:gd name="connsiteX1" fmla="*/ 2354400 w 2817579"/>
              <a:gd name="connsiteY1" fmla="*/ 0 h 1310024"/>
              <a:gd name="connsiteX2" fmla="*/ 2358072 w 2817579"/>
              <a:gd name="connsiteY2" fmla="*/ 0 h 1310024"/>
              <a:gd name="connsiteX3" fmla="*/ 2358072 w 2817579"/>
              <a:gd name="connsiteY3" fmla="*/ 10386 h 1310024"/>
              <a:gd name="connsiteX4" fmla="*/ 2817579 w 2817579"/>
              <a:gd name="connsiteY4" fmla="*/ 1310024 h 1310024"/>
              <a:gd name="connsiteX5" fmla="*/ 459508 w 2817579"/>
              <a:gd name="connsiteY5" fmla="*/ 1310024 h 1310024"/>
              <a:gd name="connsiteX6" fmla="*/ 0 w 2817579"/>
              <a:gd name="connsiteY6" fmla="*/ 10386 h 1310024"/>
              <a:gd name="connsiteX7" fmla="*/ 0 w 2817579"/>
              <a:gd name="connsiteY7" fmla="*/ 0 h 1310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17579" h="1310024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2817579" y="1310024"/>
                </a:lnTo>
                <a:lnTo>
                  <a:pt x="459508" y="1310024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rtl="0" eaLnBrk="1"/>
            <a:endParaRPr lang="es-PE" sz="1837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 sz="3265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 rtl="0">
              <a:defRPr sz="1428" cap="all" baseline="0">
                <a:solidFill>
                  <a:schemeClr val="accent4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sub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562C820-CEB3-4AFD-B479-ED0141E3E705}"/>
              </a:ext>
            </a:extLst>
          </p:cNvPr>
          <p:cNvCxnSpPr>
            <a:cxnSpLocks/>
            <a:stCxn id="117" idx="0"/>
            <a:endCxn id="117" idx="3"/>
          </p:cNvCxnSpPr>
          <p:nvPr/>
        </p:nvCxnSpPr>
        <p:spPr>
          <a:xfrm>
            <a:off x="3853923" y="754087"/>
            <a:ext cx="433423" cy="11824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FAA0926-482B-4801-9155-BC0A4B20820A}"/>
              </a:ext>
            </a:extLst>
          </p:cNvPr>
          <p:cNvCxnSpPr>
            <a:cxnSpLocks/>
            <a:endCxn id="117" idx="3"/>
          </p:cNvCxnSpPr>
          <p:nvPr/>
        </p:nvCxnSpPr>
        <p:spPr>
          <a:xfrm flipH="1">
            <a:off x="4287346" y="1936526"/>
            <a:ext cx="441077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3044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4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sz="214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02904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051228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15C8C78C-7F33-4A6B-87A1-75A5656AD06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639396" y="1240193"/>
            <a:ext cx="6552605" cy="4368338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rtl="0" eaLnBrk="1"/>
            <a:endParaRPr lang="es-PE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0" eaLnBrk="0" hangingPunct="1">
              <a:defRPr/>
            </a:pPr>
            <a:endParaRPr lang="es-PE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rtl="0" eaLnBrk="0" hangingPunct="0"/>
            <a:r>
              <a:rPr lang="es-PE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rtl="0" eaLnBrk="0" hangingPunct="0"/>
            <a:r>
              <a:rPr lang="es-PE" sz="816" baseline="0" err="1">
                <a:solidFill>
                  <a:schemeClr val="bg1"/>
                </a:solidFill>
                <a:latin typeface="+mn-lt"/>
              </a:rPr>
              <a:t>An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use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th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aterial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without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pecific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ermission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cKinsey &amp; Company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trictl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rohibited</a:t>
            </a:r>
            <a:endParaRPr lang="es-P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 rtl="0"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sub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rtl="0" eaLnBrk="1"/>
            <a:endParaRPr lang="es-PE" sz="1837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1C1D061B-23AF-46A0-9322-57E283404A7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27845" y="0"/>
            <a:ext cx="2349744" cy="575048"/>
          </a:xfrm>
          <a:custGeom>
            <a:avLst/>
            <a:gdLst>
              <a:gd name="connsiteX0" fmla="*/ 0 w 2302933"/>
              <a:gd name="connsiteY0" fmla="*/ 0 h 563600"/>
              <a:gd name="connsiteX1" fmla="*/ 2103664 w 2302933"/>
              <a:gd name="connsiteY1" fmla="*/ 0 h 563600"/>
              <a:gd name="connsiteX2" fmla="*/ 2302933 w 2302933"/>
              <a:gd name="connsiteY2" fmla="*/ 563600 h 563600"/>
              <a:gd name="connsiteX3" fmla="*/ 199269 w 2302933"/>
              <a:gd name="connsiteY3" fmla="*/ 563600 h 563600"/>
              <a:gd name="connsiteX4" fmla="*/ 0 w 2302933"/>
              <a:gd name="connsiteY4" fmla="*/ 0 h 5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2933" h="563600">
                <a:moveTo>
                  <a:pt x="0" y="0"/>
                </a:moveTo>
                <a:lnTo>
                  <a:pt x="2103664" y="0"/>
                </a:lnTo>
                <a:lnTo>
                  <a:pt x="2302933" y="563600"/>
                </a:lnTo>
                <a:lnTo>
                  <a:pt x="199269" y="563600"/>
                </a:lnTo>
                <a:lnTo>
                  <a:pt x="0" y="0"/>
                </a:lnTo>
                <a:close/>
              </a:path>
            </a:pathLst>
          </a:custGeom>
        </p:spPr>
      </p:pic>
      <p:grpSp>
        <p:nvGrpSpPr>
          <p:cNvPr id="29" name="LogoImage">
            <a:extLst>
              <a:ext uri="{FF2B5EF4-FFF2-40B4-BE49-F238E27FC236}">
                <a16:creationId xmlns:a16="http://schemas.microsoft.com/office/drawing/2014/main" id="{F854849A-57E5-497F-BE9B-A6CC7E47D7E7}"/>
              </a:ext>
            </a:extLst>
          </p:cNvPr>
          <p:cNvGrpSpPr/>
          <p:nvPr userDrawn="1"/>
        </p:nvGrpSpPr>
        <p:grpSpPr>
          <a:xfrm>
            <a:off x="3726338" y="5666487"/>
            <a:ext cx="3085436" cy="981221"/>
            <a:chOff x="3029003" y="258214"/>
            <a:chExt cx="1706951" cy="542847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A18BFC72-CE2B-41C8-9785-985E3BD50FE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029003" y="258214"/>
              <a:ext cx="1706951" cy="5428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rtl="0"/>
              <a:endParaRPr lang="es-PE" sz="1632">
                <a:latin typeface="Theinhardt Pan Light" panose="020B0404020101020102" pitchFamily="34" charset="0"/>
              </a:endParaRPr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78E3880A-715E-4390-B929-7CFBF8E728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29003" y="258443"/>
              <a:ext cx="1706951" cy="542618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rtl="0"/>
              <a:endParaRPr lang="es-PE" sz="1632">
                <a:latin typeface="Theinhardt Pan Light" panose="020B0404020101020102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2794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05972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954" name="Picture 546" descr="https://www.bcp.com.bo/Content/images/Otros/imagen001.jpg">
            <a:extLst>
              <a:ext uri="{FF2B5EF4-FFF2-40B4-BE49-F238E27FC236}">
                <a16:creationId xmlns:a16="http://schemas.microsoft.com/office/drawing/2014/main" id="{3EA97854-121E-4682-AC9F-6396B15824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09560" y="984027"/>
            <a:ext cx="7782440" cy="48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rtl="0" eaLnBrk="1"/>
            <a:endParaRPr lang="es-PE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0" eaLnBrk="0" hangingPunct="1">
              <a:defRPr/>
            </a:pPr>
            <a:endParaRPr lang="es-PE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0" hangingPunct="1">
              <a:defRPr/>
            </a:pPr>
            <a:r>
              <a:rPr lang="es-PE" sz="1428" baseline="0" noProof="0" err="1">
                <a:solidFill>
                  <a:schemeClr val="bg1"/>
                </a:solidFill>
                <a:latin typeface="+mn-lt"/>
              </a:rPr>
              <a:t>Document</a:t>
            </a:r>
            <a:r>
              <a:rPr lang="es-PE" sz="1428" baseline="0" noProof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1428" baseline="0" noProof="0" err="1">
                <a:solidFill>
                  <a:schemeClr val="bg1"/>
                </a:solidFill>
                <a:latin typeface="+mn-lt"/>
              </a:rPr>
              <a:t>type</a:t>
            </a:r>
            <a:r>
              <a:rPr lang="es-PE" sz="1428" baseline="0" noProof="0">
                <a:solidFill>
                  <a:schemeClr val="bg1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rtl="0" eaLnBrk="0" hangingPunct="0"/>
            <a:r>
              <a:rPr lang="es-PE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rtl="0" eaLnBrk="0" hangingPunct="0"/>
            <a:r>
              <a:rPr lang="es-PE" sz="816" baseline="0" err="1">
                <a:solidFill>
                  <a:schemeClr val="bg1"/>
                </a:solidFill>
                <a:latin typeface="+mn-lt"/>
              </a:rPr>
              <a:t>An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use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th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aterial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without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pecific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ermission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cKinsey &amp; Company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trictl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rohibited</a:t>
            </a:r>
            <a:endParaRPr lang="es-P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68F6781-56A0-43F1-A5CE-A7A1FA08FECD}"/>
              </a:ext>
            </a:extLst>
          </p:cNvPr>
          <p:cNvSpPr>
            <a:spLocks/>
          </p:cNvSpPr>
          <p:nvPr/>
        </p:nvSpPr>
        <p:spPr>
          <a:xfrm>
            <a:off x="5549497" y="4721190"/>
            <a:ext cx="3157771" cy="2136809"/>
          </a:xfrm>
          <a:custGeom>
            <a:avLst/>
            <a:gdLst>
              <a:gd name="connsiteX0" fmla="*/ 0 w 3094862"/>
              <a:gd name="connsiteY0" fmla="*/ 0 h 2094271"/>
              <a:gd name="connsiteX1" fmla="*/ 2354400 w 3094862"/>
              <a:gd name="connsiteY1" fmla="*/ 0 h 2094271"/>
              <a:gd name="connsiteX2" fmla="*/ 2358072 w 3094862"/>
              <a:gd name="connsiteY2" fmla="*/ 0 h 2094271"/>
              <a:gd name="connsiteX3" fmla="*/ 2358072 w 3094862"/>
              <a:gd name="connsiteY3" fmla="*/ 10386 h 2094271"/>
              <a:gd name="connsiteX4" fmla="*/ 3094862 w 3094862"/>
              <a:gd name="connsiteY4" fmla="*/ 2094271 h 2094271"/>
              <a:gd name="connsiteX5" fmla="*/ 736790 w 3094862"/>
              <a:gd name="connsiteY5" fmla="*/ 2094271 h 2094271"/>
              <a:gd name="connsiteX6" fmla="*/ 0 w 3094862"/>
              <a:gd name="connsiteY6" fmla="*/ 10386 h 2094271"/>
              <a:gd name="connsiteX7" fmla="*/ 0 w 3094862"/>
              <a:gd name="connsiteY7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94862" h="2094271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3094862" y="2094271"/>
                </a:lnTo>
                <a:lnTo>
                  <a:pt x="736790" y="2094271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rtl="0" eaLnBrk="1"/>
            <a:endParaRPr lang="es-PE" sz="1837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 rtl="0"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sub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</p:spTree>
    <p:extLst>
      <p:ext uri="{BB962C8B-B14F-4D97-AF65-F5344CB8AC3E}">
        <p14:creationId xmlns:p14="http://schemas.microsoft.com/office/powerpoint/2010/main" val="13672432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511991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rtl="0" eaLnBrk="1"/>
            <a:endParaRPr lang="es-P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20167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9233264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4849" y="1"/>
            <a:ext cx="10287152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2F09DA5-2894-4EC1-9C90-665D9D6A5B9E}"/>
              </a:ext>
            </a:extLst>
          </p:cNvPr>
          <p:cNvSpPr>
            <a:spLocks/>
          </p:cNvSpPr>
          <p:nvPr/>
        </p:nvSpPr>
        <p:spPr>
          <a:xfrm>
            <a:off x="1" y="-1"/>
            <a:ext cx="12192000" cy="6858000"/>
          </a:xfrm>
          <a:prstGeom prst="rect">
            <a:avLst/>
          </a:prstGeom>
          <a:solidFill>
            <a:srgbClr val="F39D1D">
              <a:alpha val="6705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1A62CCF-F230-4083-B80D-8EFF998D4248}"/>
              </a:ext>
            </a:extLst>
          </p:cNvPr>
          <p:cNvSpPr>
            <a:spLocks/>
          </p:cNvSpPr>
          <p:nvPr userDrawn="1"/>
        </p:nvSpPr>
        <p:spPr>
          <a:xfrm>
            <a:off x="1" y="1"/>
            <a:ext cx="9111058" cy="6858000"/>
          </a:xfrm>
          <a:custGeom>
            <a:avLst/>
            <a:gdLst>
              <a:gd name="connsiteX0" fmla="*/ 0 w 8929549"/>
              <a:gd name="connsiteY0" fmla="*/ 0 h 6721475"/>
              <a:gd name="connsiteX1" fmla="*/ 1797646 w 8929549"/>
              <a:gd name="connsiteY1" fmla="*/ 0 h 6721475"/>
              <a:gd name="connsiteX2" fmla="*/ 1888573 w 8929549"/>
              <a:gd name="connsiteY2" fmla="*/ 0 h 6721475"/>
              <a:gd name="connsiteX3" fmla="*/ 2866850 w 8929549"/>
              <a:gd name="connsiteY3" fmla="*/ 0 h 6721475"/>
              <a:gd name="connsiteX4" fmla="*/ 2870522 w 8929549"/>
              <a:gd name="connsiteY4" fmla="*/ 0 h 6721475"/>
              <a:gd name="connsiteX5" fmla="*/ 3686219 w 8929549"/>
              <a:gd name="connsiteY5" fmla="*/ 0 h 6721475"/>
              <a:gd name="connsiteX6" fmla="*/ 4664496 w 8929549"/>
              <a:gd name="connsiteY6" fmla="*/ 0 h 6721475"/>
              <a:gd name="connsiteX7" fmla="*/ 4668168 w 8929549"/>
              <a:gd name="connsiteY7" fmla="*/ 0 h 6721475"/>
              <a:gd name="connsiteX8" fmla="*/ 4755423 w 8929549"/>
              <a:gd name="connsiteY8" fmla="*/ 0 h 6721475"/>
              <a:gd name="connsiteX9" fmla="*/ 4759095 w 8929549"/>
              <a:gd name="connsiteY9" fmla="*/ 0 h 6721475"/>
              <a:gd name="connsiteX10" fmla="*/ 6553069 w 8929549"/>
              <a:gd name="connsiteY10" fmla="*/ 0 h 6721475"/>
              <a:gd name="connsiteX11" fmla="*/ 6556741 w 8929549"/>
              <a:gd name="connsiteY11" fmla="*/ 0 h 6721475"/>
              <a:gd name="connsiteX12" fmla="*/ 6556741 w 8929549"/>
              <a:gd name="connsiteY12" fmla="*/ 10386 h 6721475"/>
              <a:gd name="connsiteX13" fmla="*/ 8929549 w 8929549"/>
              <a:gd name="connsiteY13" fmla="*/ 6721475 h 6721475"/>
              <a:gd name="connsiteX14" fmla="*/ 7131903 w 8929549"/>
              <a:gd name="connsiteY14" fmla="*/ 6721475 h 6721475"/>
              <a:gd name="connsiteX15" fmla="*/ 7040976 w 8929549"/>
              <a:gd name="connsiteY15" fmla="*/ 6721475 h 6721475"/>
              <a:gd name="connsiteX16" fmla="*/ 5243330 w 8929549"/>
              <a:gd name="connsiteY16" fmla="*/ 6721475 h 6721475"/>
              <a:gd name="connsiteX17" fmla="*/ 3686219 w 8929549"/>
              <a:gd name="connsiteY17" fmla="*/ 6721475 h 6721475"/>
              <a:gd name="connsiteX18" fmla="*/ 1888573 w 8929549"/>
              <a:gd name="connsiteY18" fmla="*/ 6721475 h 6721475"/>
              <a:gd name="connsiteX19" fmla="*/ 1797646 w 8929549"/>
              <a:gd name="connsiteY19" fmla="*/ 6721475 h 6721475"/>
              <a:gd name="connsiteX20" fmla="*/ 0 w 8929549"/>
              <a:gd name="connsiteY2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929549" h="6721475">
                <a:moveTo>
                  <a:pt x="0" y="0"/>
                </a:moveTo>
                <a:lnTo>
                  <a:pt x="1797646" y="0"/>
                </a:ln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3686219" y="0"/>
                </a:lnTo>
                <a:lnTo>
                  <a:pt x="4664496" y="0"/>
                </a:lnTo>
                <a:lnTo>
                  <a:pt x="4668168" y="0"/>
                </a:lnTo>
                <a:lnTo>
                  <a:pt x="4755423" y="0"/>
                </a:lnTo>
                <a:lnTo>
                  <a:pt x="4759095" y="0"/>
                </a:lnTo>
                <a:lnTo>
                  <a:pt x="6553069" y="0"/>
                </a:lnTo>
                <a:lnTo>
                  <a:pt x="6556741" y="0"/>
                </a:lnTo>
                <a:lnTo>
                  <a:pt x="6556741" y="10386"/>
                </a:lnTo>
                <a:lnTo>
                  <a:pt x="8929549" y="6721475"/>
                </a:lnTo>
                <a:lnTo>
                  <a:pt x="7131903" y="6721475"/>
                </a:lnTo>
                <a:lnTo>
                  <a:pt x="7040976" y="6721475"/>
                </a:lnTo>
                <a:lnTo>
                  <a:pt x="5243330" y="6721475"/>
                </a:lnTo>
                <a:lnTo>
                  <a:pt x="3686219" y="6721475"/>
                </a:lnTo>
                <a:lnTo>
                  <a:pt x="1888573" y="6721475"/>
                </a:lnTo>
                <a:lnTo>
                  <a:pt x="1797646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rtl="0" eaLnBrk="1"/>
            <a:endParaRPr lang="es-P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5B3C1C9-164C-45D0-AE40-099216F858A4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28438"/>
            <a:ext cx="184346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rtl="0"/>
            <a:fld id="{42C328C1-A84F-4A39-A664-DBA00541A8C6}" type="slidenum">
              <a:rPr lang="es-PE" sz="816" smtClean="0">
                <a:solidFill>
                  <a:schemeClr val="bg1"/>
                </a:solidFill>
              </a:rPr>
              <a:pPr lvl="0" rtl="0"/>
              <a:t>‹Nº›</a:t>
            </a:fld>
            <a:endParaRPr lang="es-PE" sz="816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A091C01-859B-4D5E-A46D-7F6F795C667F}"/>
              </a:ext>
            </a:extLst>
          </p:cNvPr>
          <p:cNvGrpSpPr/>
          <p:nvPr/>
        </p:nvGrpSpPr>
        <p:grpSpPr>
          <a:xfrm>
            <a:off x="10829030" y="6608570"/>
            <a:ext cx="618531" cy="165283"/>
            <a:chOff x="4797041" y="952089"/>
            <a:chExt cx="2281238" cy="609599"/>
          </a:xfrm>
          <a:solidFill>
            <a:schemeClr val="bg1"/>
          </a:solidFill>
        </p:grpSpPr>
        <p:sp>
          <p:nvSpPr>
            <p:cNvPr id="14" name="Freeform 538">
              <a:extLst>
                <a:ext uri="{FF2B5EF4-FFF2-40B4-BE49-F238E27FC236}">
                  <a16:creationId xmlns:a16="http://schemas.microsoft.com/office/drawing/2014/main" id="{1EEA9E48-40F1-4821-856D-CFC901698D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5" name="Freeform 539">
              <a:extLst>
                <a:ext uri="{FF2B5EF4-FFF2-40B4-BE49-F238E27FC236}">
                  <a16:creationId xmlns:a16="http://schemas.microsoft.com/office/drawing/2014/main" id="{1BC14002-6AC7-43A0-B8FC-6FDAA1EF5D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6" name="Freeform 540">
              <a:extLst>
                <a:ext uri="{FF2B5EF4-FFF2-40B4-BE49-F238E27FC236}">
                  <a16:creationId xmlns:a16="http://schemas.microsoft.com/office/drawing/2014/main" id="{CE175A35-FD80-4EAC-B7C8-A2B57FC263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7" name="Freeform 541">
              <a:extLst>
                <a:ext uri="{FF2B5EF4-FFF2-40B4-BE49-F238E27FC236}">
                  <a16:creationId xmlns:a16="http://schemas.microsoft.com/office/drawing/2014/main" id="{6AD157DA-7E3C-4887-BCF8-2390422DB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8" name="Freeform 542">
              <a:extLst>
                <a:ext uri="{FF2B5EF4-FFF2-40B4-BE49-F238E27FC236}">
                  <a16:creationId xmlns:a16="http://schemas.microsoft.com/office/drawing/2014/main" id="{0AC7FD69-DF48-4BE9-830A-FAECD1F40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9" name="Freeform 543">
              <a:extLst>
                <a:ext uri="{FF2B5EF4-FFF2-40B4-BE49-F238E27FC236}">
                  <a16:creationId xmlns:a16="http://schemas.microsoft.com/office/drawing/2014/main" id="{C3320177-C075-41D2-8D4D-084DB9CC0E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20" name="Freeform 544">
              <a:extLst>
                <a:ext uri="{FF2B5EF4-FFF2-40B4-BE49-F238E27FC236}">
                  <a16:creationId xmlns:a16="http://schemas.microsoft.com/office/drawing/2014/main" id="{9965B84C-9390-47C0-9D84-BE84FD66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B2E4C0F-B532-4C36-8D02-51D33DE6C75D}"/>
              </a:ext>
            </a:extLst>
          </p:cNvPr>
          <p:cNvCxnSpPr>
            <a:cxnSpLocks/>
          </p:cNvCxnSpPr>
          <p:nvPr/>
        </p:nvCxnSpPr>
        <p:spPr>
          <a:xfrm>
            <a:off x="11495662" y="6560370"/>
            <a:ext cx="105233" cy="29763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3CCCC03-A808-48EC-A7E1-59D7CD8E471A}"/>
              </a:ext>
            </a:extLst>
          </p:cNvPr>
          <p:cNvCxnSpPr>
            <a:cxnSpLocks/>
          </p:cNvCxnSpPr>
          <p:nvPr/>
        </p:nvCxnSpPr>
        <p:spPr>
          <a:xfrm>
            <a:off x="11495662" y="6560370"/>
            <a:ext cx="3351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3906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28396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3939" y="1"/>
            <a:ext cx="7838062" cy="68580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AA7070E-4118-4494-BAD2-8DBA04DB9A84}"/>
              </a:ext>
            </a:extLst>
          </p:cNvPr>
          <p:cNvSpPr>
            <a:spLocks/>
          </p:cNvSpPr>
          <p:nvPr/>
        </p:nvSpPr>
        <p:spPr>
          <a:xfrm>
            <a:off x="0" y="1"/>
            <a:ext cx="6840595" cy="6858000"/>
          </a:xfrm>
          <a:custGeom>
            <a:avLst/>
            <a:gdLst>
              <a:gd name="connsiteX0" fmla="*/ 0 w 6704318"/>
              <a:gd name="connsiteY0" fmla="*/ 0 h 6721475"/>
              <a:gd name="connsiteX1" fmla="*/ 641619 w 6704318"/>
              <a:gd name="connsiteY1" fmla="*/ 0 h 6721475"/>
              <a:gd name="connsiteX2" fmla="*/ 645291 w 6704318"/>
              <a:gd name="connsiteY2" fmla="*/ 0 h 6721475"/>
              <a:gd name="connsiteX3" fmla="*/ 1460988 w 6704318"/>
              <a:gd name="connsiteY3" fmla="*/ 0 h 6721475"/>
              <a:gd name="connsiteX4" fmla="*/ 2439265 w 6704318"/>
              <a:gd name="connsiteY4" fmla="*/ 0 h 6721475"/>
              <a:gd name="connsiteX5" fmla="*/ 2442937 w 6704318"/>
              <a:gd name="connsiteY5" fmla="*/ 0 h 6721475"/>
              <a:gd name="connsiteX6" fmla="*/ 2530192 w 6704318"/>
              <a:gd name="connsiteY6" fmla="*/ 0 h 6721475"/>
              <a:gd name="connsiteX7" fmla="*/ 2533864 w 6704318"/>
              <a:gd name="connsiteY7" fmla="*/ 0 h 6721475"/>
              <a:gd name="connsiteX8" fmla="*/ 4327838 w 6704318"/>
              <a:gd name="connsiteY8" fmla="*/ 0 h 6721475"/>
              <a:gd name="connsiteX9" fmla="*/ 4331510 w 6704318"/>
              <a:gd name="connsiteY9" fmla="*/ 0 h 6721475"/>
              <a:gd name="connsiteX10" fmla="*/ 4331510 w 6704318"/>
              <a:gd name="connsiteY10" fmla="*/ 10386 h 6721475"/>
              <a:gd name="connsiteX11" fmla="*/ 6704318 w 6704318"/>
              <a:gd name="connsiteY11" fmla="*/ 6721475 h 6721475"/>
              <a:gd name="connsiteX12" fmla="*/ 4906672 w 6704318"/>
              <a:gd name="connsiteY12" fmla="*/ 6721475 h 6721475"/>
              <a:gd name="connsiteX13" fmla="*/ 4815745 w 6704318"/>
              <a:gd name="connsiteY13" fmla="*/ 6721475 h 6721475"/>
              <a:gd name="connsiteX14" fmla="*/ 3018099 w 6704318"/>
              <a:gd name="connsiteY14" fmla="*/ 6721475 h 6721475"/>
              <a:gd name="connsiteX15" fmla="*/ 1460988 w 6704318"/>
              <a:gd name="connsiteY15" fmla="*/ 6721475 h 6721475"/>
              <a:gd name="connsiteX16" fmla="*/ 0 w 6704318"/>
              <a:gd name="connsiteY16" fmla="*/ 6721475 h 6721475"/>
              <a:gd name="connsiteX17" fmla="*/ 0 w 6704318"/>
              <a:gd name="connsiteY17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04318" h="6721475">
                <a:moveTo>
                  <a:pt x="0" y="0"/>
                </a:moveTo>
                <a:lnTo>
                  <a:pt x="641619" y="0"/>
                </a:lnTo>
                <a:lnTo>
                  <a:pt x="645291" y="0"/>
                </a:lnTo>
                <a:lnTo>
                  <a:pt x="1460988" y="0"/>
                </a:lnTo>
                <a:lnTo>
                  <a:pt x="2439265" y="0"/>
                </a:lnTo>
                <a:lnTo>
                  <a:pt x="2442937" y="0"/>
                </a:lnTo>
                <a:lnTo>
                  <a:pt x="2530192" y="0"/>
                </a:lnTo>
                <a:lnTo>
                  <a:pt x="2533864" y="0"/>
                </a:lnTo>
                <a:lnTo>
                  <a:pt x="4327838" y="0"/>
                </a:lnTo>
                <a:lnTo>
                  <a:pt x="4331510" y="0"/>
                </a:lnTo>
                <a:lnTo>
                  <a:pt x="4331510" y="10386"/>
                </a:lnTo>
                <a:lnTo>
                  <a:pt x="6704318" y="6721475"/>
                </a:lnTo>
                <a:lnTo>
                  <a:pt x="4906672" y="6721475"/>
                </a:lnTo>
                <a:lnTo>
                  <a:pt x="4815745" y="6721475"/>
                </a:lnTo>
                <a:lnTo>
                  <a:pt x="3018099" y="6721475"/>
                </a:lnTo>
                <a:lnTo>
                  <a:pt x="1460988" y="6721475"/>
                </a:lnTo>
                <a:lnTo>
                  <a:pt x="0" y="672147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rtl="0" eaLnBrk="1"/>
            <a:endParaRPr lang="es-P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9B9250-2837-42B9-9997-131808FF9503}"/>
              </a:ext>
            </a:extLst>
          </p:cNvPr>
          <p:cNvGrpSpPr/>
          <p:nvPr/>
        </p:nvGrpSpPr>
        <p:grpSpPr>
          <a:xfrm>
            <a:off x="832779" y="2903658"/>
            <a:ext cx="3931927" cy="1050685"/>
            <a:chOff x="4797041" y="952089"/>
            <a:chExt cx="2281238" cy="609599"/>
          </a:xfrm>
        </p:grpSpPr>
        <p:sp>
          <p:nvSpPr>
            <p:cNvPr id="26" name="Freeform 538">
              <a:extLst>
                <a:ext uri="{FF2B5EF4-FFF2-40B4-BE49-F238E27FC236}">
                  <a16:creationId xmlns:a16="http://schemas.microsoft.com/office/drawing/2014/main" id="{B867A878-913F-47AE-A151-F55FDEC1EA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27" name="Freeform 539">
              <a:extLst>
                <a:ext uri="{FF2B5EF4-FFF2-40B4-BE49-F238E27FC236}">
                  <a16:creationId xmlns:a16="http://schemas.microsoft.com/office/drawing/2014/main" id="{3DC3CB76-26C6-4631-8C62-ABD7B3B492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28" name="Freeform 540">
              <a:extLst>
                <a:ext uri="{FF2B5EF4-FFF2-40B4-BE49-F238E27FC236}">
                  <a16:creationId xmlns:a16="http://schemas.microsoft.com/office/drawing/2014/main" id="{5675BF14-7787-4D15-A2C4-5109E68B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29" name="Freeform 541">
              <a:extLst>
                <a:ext uri="{FF2B5EF4-FFF2-40B4-BE49-F238E27FC236}">
                  <a16:creationId xmlns:a16="http://schemas.microsoft.com/office/drawing/2014/main" id="{549D4A3B-82C1-4AB5-ABB1-FF74D0CBC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30" name="Freeform 542">
              <a:extLst>
                <a:ext uri="{FF2B5EF4-FFF2-40B4-BE49-F238E27FC236}">
                  <a16:creationId xmlns:a16="http://schemas.microsoft.com/office/drawing/2014/main" id="{F4D1B063-2152-4213-ADC9-D6DC3545B7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31" name="Freeform 543">
              <a:extLst>
                <a:ext uri="{FF2B5EF4-FFF2-40B4-BE49-F238E27FC236}">
                  <a16:creationId xmlns:a16="http://schemas.microsoft.com/office/drawing/2014/main" id="{4C30F9F3-CAD7-45C3-83CF-A1E156B006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32" name="Freeform 544">
              <a:extLst>
                <a:ext uri="{FF2B5EF4-FFF2-40B4-BE49-F238E27FC236}">
                  <a16:creationId xmlns:a16="http://schemas.microsoft.com/office/drawing/2014/main" id="{CAFE6CEB-1DB4-4EAF-9377-14E5BA42C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</p:spTree>
    <p:extLst>
      <p:ext uri="{BB962C8B-B14F-4D97-AF65-F5344CB8AC3E}">
        <p14:creationId xmlns:p14="http://schemas.microsoft.com/office/powerpoint/2010/main" val="3640584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3AF7B21-9942-476F-B1D9-19DCD666DC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3552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480" imgH="481" progId="TCLayout.ActiveDocument.1">
                  <p:embed/>
                </p:oleObj>
              </mc:Choice>
              <mc:Fallback>
                <p:oleObj name="Diapositiva de think-cell" r:id="rId7" imgW="480" imgH="481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3AF7B21-9942-476F-B1D9-19DCD666DC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PE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PE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894B01F2-0F20-4749-9B38-DFD772EED8DC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s-PE" err="1"/>
              <a:t>Chapter</a:t>
            </a:r>
            <a:r>
              <a:rPr lang="es-PE"/>
              <a:t> › </a:t>
            </a:r>
            <a:r>
              <a:rPr lang="es-PE" err="1"/>
              <a:t>Topic</a:t>
            </a:r>
            <a:endParaRPr lang="es-PE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7A51059-AF5B-44C9-972A-04EB79BED86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s-PE" sz="900" err="1"/>
              <a:t>Source</a:t>
            </a:r>
            <a:r>
              <a:rPr lang="es-PE" sz="90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7095173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D2F65B-4DB5-4770-A7E4-1482FEF78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148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480" imgH="481" progId="TCLayout.ActiveDocument.1">
                  <p:embed/>
                </p:oleObj>
              </mc:Choice>
              <mc:Fallback>
                <p:oleObj name="Diapositiva de think-cell" r:id="rId15" imgW="480" imgH="48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D2F65B-4DB5-4770-A7E4-1482FEF78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3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s-PE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PE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PE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2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2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8173371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 rtl="0">
              <a:defRPr lang="en-US" sz="800" dirty="0"/>
            </a:lvl1pPr>
          </a:lstStyle>
          <a:p>
            <a:pPr lvl="0" algn="r"/>
            <a:r>
              <a:rPr lang="es-PE" err="1"/>
              <a:t>Chapter</a:t>
            </a:r>
            <a:r>
              <a:rPr lang="es-PE"/>
              <a:t> › </a:t>
            </a:r>
            <a:r>
              <a:rPr lang="es-PE" err="1"/>
              <a:t>Topic</a:t>
            </a:r>
            <a:endParaRPr lang="es-PE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A430C8A-E3B1-4D61-BEBE-3203872E20E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7" y="6501670"/>
            <a:ext cx="7275576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s-PE" sz="900" err="1"/>
              <a:t>Source</a:t>
            </a:r>
            <a:r>
              <a:rPr lang="es-PE" sz="90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0772120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122C15CC-DD71-4586-9B5B-C9128E59F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4432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480" imgH="481" progId="TCLayout.ActiveDocument.1">
                  <p:embed/>
                </p:oleObj>
              </mc:Choice>
              <mc:Fallback>
                <p:oleObj name="Diapositiva de think-cell" r:id="rId8" imgW="480" imgH="481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122C15CC-DD71-4586-9B5B-C9128E59F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7" y="172213"/>
            <a:ext cx="110825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54737" y="915504"/>
            <a:ext cx="11082528" cy="246221"/>
          </a:xfrm>
        </p:spPr>
        <p:txBody>
          <a:bodyPr wrap="square" anchor="b">
            <a:spAutoFit/>
          </a:bodyPr>
          <a:lstStyle>
            <a:lvl1pPr marL="0" indent="0" algn="l" rtl="0">
              <a:buNone/>
              <a:defRPr sz="16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BECE6BCA-B393-4492-91E9-DA14BD6787F1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s-PE" err="1"/>
              <a:t>Chapter</a:t>
            </a:r>
            <a:r>
              <a:rPr lang="es-PE"/>
              <a:t> › </a:t>
            </a:r>
            <a:r>
              <a:rPr lang="es-PE" err="1"/>
              <a:t>Topic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PE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PE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224189E-EF1A-4089-81EC-A18BAC8894F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s-PE" sz="900" err="1"/>
              <a:t>Source</a:t>
            </a:r>
            <a:r>
              <a:rPr lang="es-PE" sz="90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3446677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805E1DA-4069-47D0-B491-4A6C76425B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8042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80" imgH="481" progId="TCLayout.ActiveDocument.1">
                  <p:embed/>
                </p:oleObj>
              </mc:Choice>
              <mc:Fallback>
                <p:oleObj name="Diapositiva de think-cell" r:id="rId3" imgW="480" imgH="48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805E1DA-4069-47D0-B491-4A6C76425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9350BFF-AC2A-4A78-9C8B-1F586F89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342710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49B486C-CC28-4F9B-AA9E-938CFB0B6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531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480" imgH="481" progId="TCLayout.ActiveDocument.1">
                  <p:embed/>
                </p:oleObj>
              </mc:Choice>
              <mc:Fallback>
                <p:oleObj name="Diapositiva de think-cell" r:id="rId8" imgW="480" imgH="48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49B486C-CC28-4F9B-AA9E-938CFB0B6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PE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PE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 rtl="0">
              <a:defRPr lang="en-US" sz="800" dirty="0"/>
            </a:lvl1pPr>
          </a:lstStyle>
          <a:p>
            <a:pPr lvl="0" algn="r"/>
            <a:r>
              <a:rPr lang="es-PE" err="1"/>
              <a:t>Chapter</a:t>
            </a:r>
            <a:r>
              <a:rPr lang="es-PE"/>
              <a:t> › </a:t>
            </a:r>
            <a:r>
              <a:rPr lang="es-PE" err="1"/>
              <a:t>Topic</a:t>
            </a:r>
            <a:endParaRPr lang="es-PE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0D9B58F-A7E9-4361-8B4D-4CC0A4886EF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s-PE" sz="900" err="1"/>
              <a:t>Source</a:t>
            </a:r>
            <a:r>
              <a:rPr lang="es-PE" sz="90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8903163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145225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370" imgH="371" progId="TCLayout.ActiveDocument.1">
                  <p:embed/>
                </p:oleObj>
              </mc:Choice>
              <mc:Fallback>
                <p:oleObj name="Diapositiva de think-cell" r:id="rId9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4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 sz="214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82F0F27-A76F-4ABB-8B3C-030C8A011A50}"/>
              </a:ext>
            </a:extLst>
          </p:cNvPr>
          <p:cNvGrpSpPr/>
          <p:nvPr userDrawn="1"/>
        </p:nvGrpSpPr>
        <p:grpSpPr>
          <a:xfrm>
            <a:off x="9752065" y="81652"/>
            <a:ext cx="2325233" cy="522893"/>
            <a:chOff x="9564225" y="236882"/>
            <a:chExt cx="2278910" cy="512484"/>
          </a:xfrm>
        </p:grpSpPr>
        <p:sp>
          <p:nvSpPr>
            <p:cNvPr id="7" name="RectangleLegend1">
              <a:extLst>
                <a:ext uri="{FF2B5EF4-FFF2-40B4-BE49-F238E27FC236}">
                  <a16:creationId xmlns:a16="http://schemas.microsoft.com/office/drawing/2014/main" id="{A1C830CB-8AD8-418E-8063-3007F3CE974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564225" y="427841"/>
              <a:ext cx="133137" cy="129296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714" baseline="0">
                <a:latin typeface="+mn-lt"/>
                <a:ea typeface="+mn-ea"/>
              </a:endParaRPr>
            </a:p>
          </p:txBody>
        </p:sp>
        <p:sp>
          <p:nvSpPr>
            <p:cNvPr id="8" name="RectangleLegend2">
              <a:extLst>
                <a:ext uri="{FF2B5EF4-FFF2-40B4-BE49-F238E27FC236}">
                  <a16:creationId xmlns:a16="http://schemas.microsoft.com/office/drawing/2014/main" id="{58DD491F-B892-4AAD-9F91-04F47E4A62C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564225" y="620070"/>
              <a:ext cx="133137" cy="129296"/>
            </a:xfrm>
            <a:prstGeom prst="rect">
              <a:avLst/>
            </a:prstGeom>
            <a:solidFill>
              <a:srgbClr val="6CB8F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714" baseline="0">
                <a:latin typeface="+mn-lt"/>
                <a:ea typeface="+mn-ea"/>
              </a:endParaRPr>
            </a:p>
          </p:txBody>
        </p:sp>
        <p:sp>
          <p:nvSpPr>
            <p:cNvPr id="9" name="Legend2">
              <a:extLst>
                <a:ext uri="{FF2B5EF4-FFF2-40B4-BE49-F238E27FC236}">
                  <a16:creationId xmlns:a16="http://schemas.microsoft.com/office/drawing/2014/main" id="{2C2F741C-89D8-4946-955D-6AE1BE79D5E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769051" y="630885"/>
              <a:ext cx="729061" cy="1116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714" baseline="0">
                  <a:latin typeface="+mn-lt"/>
                  <a:ea typeface="+mn-ea"/>
                </a:rPr>
                <a:t>Cloud component</a:t>
              </a:r>
            </a:p>
          </p:txBody>
        </p:sp>
        <p:sp>
          <p:nvSpPr>
            <p:cNvPr id="10" name="Legend1">
              <a:extLst>
                <a:ext uri="{FF2B5EF4-FFF2-40B4-BE49-F238E27FC236}">
                  <a16:creationId xmlns:a16="http://schemas.microsoft.com/office/drawing/2014/main" id="{101948D9-AF23-4AFD-9D0F-E20F3A2A6B1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48046" y="632867"/>
              <a:ext cx="748603" cy="109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714" baseline="0">
                  <a:latin typeface="+mn-lt"/>
                  <a:ea typeface="+mn-ea"/>
                </a:rPr>
                <a:t>Real time / stream</a:t>
              </a:r>
            </a:p>
          </p:txBody>
        </p:sp>
        <p:sp>
          <p:nvSpPr>
            <p:cNvPr id="11" name="Legend1">
              <a:extLst>
                <a:ext uri="{FF2B5EF4-FFF2-40B4-BE49-F238E27FC236}">
                  <a16:creationId xmlns:a16="http://schemas.microsoft.com/office/drawing/2014/main" id="{ECFB0704-8A7B-41B0-9829-64E880E17FC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769051" y="431902"/>
              <a:ext cx="853156" cy="1116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714" baseline="0">
                  <a:latin typeface="+mn-lt"/>
                  <a:ea typeface="+mn-ea"/>
                </a:rPr>
                <a:t>On-prem component</a:t>
              </a:r>
            </a:p>
          </p:txBody>
        </p:sp>
        <p:sp>
          <p:nvSpPr>
            <p:cNvPr id="12" name="Legend1">
              <a:extLst>
                <a:ext uri="{FF2B5EF4-FFF2-40B4-BE49-F238E27FC236}">
                  <a16:creationId xmlns:a16="http://schemas.microsoft.com/office/drawing/2014/main" id="{FE7A31A1-B645-4BDC-A665-E276B19DEB1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48046" y="433884"/>
              <a:ext cx="708527" cy="109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714" baseline="0">
                  <a:latin typeface="+mn-lt"/>
                  <a:ea typeface="+mn-ea"/>
                </a:rPr>
                <a:t>Batch processing</a:t>
              </a: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75B2B688-D3F4-4BF1-B2A1-F65F3DEBB186}"/>
                </a:ext>
              </a:extLst>
            </p:cNvPr>
            <p:cNvCxnSpPr>
              <a:cxnSpLocks/>
            </p:cNvCxnSpPr>
            <p:nvPr/>
          </p:nvCxnSpPr>
          <p:spPr>
            <a:xfrm>
              <a:off x="10706073" y="691262"/>
              <a:ext cx="283872" cy="0"/>
            </a:xfrm>
            <a:prstGeom prst="straightConnector1">
              <a:avLst/>
            </a:prstGeom>
            <a:ln>
              <a:solidFill>
                <a:srgbClr val="FF000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9D67923C-D0B3-41A1-A317-D76696D6840C}"/>
                </a:ext>
              </a:extLst>
            </p:cNvPr>
            <p:cNvCxnSpPr>
              <a:cxnSpLocks/>
            </p:cNvCxnSpPr>
            <p:nvPr/>
          </p:nvCxnSpPr>
          <p:spPr>
            <a:xfrm>
              <a:off x="10706073" y="488982"/>
              <a:ext cx="283872" cy="0"/>
            </a:xfrm>
            <a:prstGeom prst="straightConnector1">
              <a:avLst/>
            </a:prstGeom>
            <a:ln>
              <a:solidFill>
                <a:srgbClr val="0070C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Legend1">
              <a:extLst>
                <a:ext uri="{FF2B5EF4-FFF2-40B4-BE49-F238E27FC236}">
                  <a16:creationId xmlns:a16="http://schemas.microsoft.com/office/drawing/2014/main" id="{53444E70-C00C-4955-AEAD-886832FB39E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48046" y="236882"/>
              <a:ext cx="795089" cy="109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714" baseline="0">
                  <a:latin typeface="+mn-lt"/>
                  <a:ea typeface="+mn-ea"/>
                </a:rPr>
                <a:t>On demand access</a:t>
              </a: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19B54DAD-521C-4D2B-982B-4277DF511CFC}"/>
                </a:ext>
              </a:extLst>
            </p:cNvPr>
            <p:cNvCxnSpPr>
              <a:cxnSpLocks/>
            </p:cNvCxnSpPr>
            <p:nvPr/>
          </p:nvCxnSpPr>
          <p:spPr>
            <a:xfrm>
              <a:off x="10706073" y="286702"/>
              <a:ext cx="283872" cy="0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69D92905-1C90-40FC-A9C6-C770E98B1BF8}"/>
              </a:ext>
            </a:extLst>
          </p:cNvPr>
          <p:cNvSpPr/>
          <p:nvPr userDrawn="1"/>
        </p:nvSpPr>
        <p:spPr>
          <a:xfrm>
            <a:off x="121443" y="659794"/>
            <a:ext cx="1201168" cy="586977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989" tIns="46649" rIns="27989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14" b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336318-AD68-459E-87E3-AB6ACFB0C8CB}"/>
              </a:ext>
            </a:extLst>
          </p:cNvPr>
          <p:cNvSpPr/>
          <p:nvPr userDrawn="1"/>
        </p:nvSpPr>
        <p:spPr>
          <a:xfrm>
            <a:off x="162440" y="807485"/>
            <a:ext cx="799944" cy="12763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989" tIns="46649" rIns="27989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MX" sz="714" b="1" err="1">
                <a:solidFill>
                  <a:schemeClr val="bg1"/>
                </a:solidFill>
              </a:rPr>
              <a:t>Systems</a:t>
            </a:r>
            <a:r>
              <a:rPr lang="es-MX" sz="714" b="1">
                <a:solidFill>
                  <a:schemeClr val="bg1"/>
                </a:solidFill>
              </a:rPr>
              <a:t> </a:t>
            </a:r>
            <a:r>
              <a:rPr lang="es-MX" sz="714" b="1" err="1">
                <a:solidFill>
                  <a:schemeClr val="bg1"/>
                </a:solidFill>
              </a:rPr>
              <a:t>of</a:t>
            </a:r>
            <a:r>
              <a:rPr lang="es-MX" sz="714" b="1">
                <a:solidFill>
                  <a:schemeClr val="bg1"/>
                </a:solidFill>
              </a:rPr>
              <a:t> </a:t>
            </a:r>
            <a:r>
              <a:rPr lang="es-MX" sz="714" b="1" err="1">
                <a:solidFill>
                  <a:schemeClr val="bg1"/>
                </a:solidFill>
              </a:rPr>
              <a:t>Engagement</a:t>
            </a:r>
            <a:endParaRPr lang="en-US" sz="714" b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6159F3B-D99C-40D9-B9EC-5E1E649C46BB}"/>
              </a:ext>
            </a:extLst>
          </p:cNvPr>
          <p:cNvSpPr/>
          <p:nvPr userDrawn="1"/>
        </p:nvSpPr>
        <p:spPr>
          <a:xfrm>
            <a:off x="162441" y="2744780"/>
            <a:ext cx="627918" cy="95472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r>
              <a:rPr lang="es-MX" sz="714" b="1">
                <a:solidFill>
                  <a:schemeClr val="bg1"/>
                </a:solidFill>
              </a:rPr>
              <a:t>Core </a:t>
            </a:r>
            <a:r>
              <a:rPr lang="es-MX" sz="714" b="1" err="1">
                <a:solidFill>
                  <a:schemeClr val="bg1"/>
                </a:solidFill>
              </a:rPr>
              <a:t>Backend</a:t>
            </a:r>
            <a:r>
              <a:rPr lang="es-MX" sz="714" b="1">
                <a:solidFill>
                  <a:schemeClr val="bg1"/>
                </a:solidFill>
              </a:rPr>
              <a:t> </a:t>
            </a:r>
            <a:r>
              <a:rPr lang="es-MX" sz="714" b="1" err="1">
                <a:solidFill>
                  <a:schemeClr val="bg1"/>
                </a:solidFill>
              </a:rPr>
              <a:t>Processes</a:t>
            </a:r>
            <a:endParaRPr lang="es-MX" sz="714" b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CDF0684-B982-420B-86D2-54CF265BFEBE}"/>
              </a:ext>
            </a:extLst>
          </p:cNvPr>
          <p:cNvSpPr/>
          <p:nvPr userDrawn="1"/>
        </p:nvSpPr>
        <p:spPr>
          <a:xfrm>
            <a:off x="162440" y="5695634"/>
            <a:ext cx="799944" cy="4696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tIns="0" rIns="27989" rtlCol="0" anchor="ctr"/>
          <a:lstStyle/>
          <a:p>
            <a:r>
              <a:rPr lang="en-US" sz="714" b="1">
                <a:solidFill>
                  <a:schemeClr val="bg1"/>
                </a:solidFill>
              </a:rPr>
              <a:t>Systems of Recor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A0D35D2-A6AA-41E9-91E9-80B9FDAF90EC}"/>
              </a:ext>
            </a:extLst>
          </p:cNvPr>
          <p:cNvSpPr/>
          <p:nvPr userDrawn="1"/>
        </p:nvSpPr>
        <p:spPr>
          <a:xfrm>
            <a:off x="162440" y="4445913"/>
            <a:ext cx="799944" cy="10174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r>
              <a:rPr lang="en-US" sz="714" b="1">
                <a:solidFill>
                  <a:schemeClr val="bg1"/>
                </a:solidFill>
              </a:rPr>
              <a:t>Data Lak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E73BF2D-690A-4A62-9EAB-B3B98C1BA75D}"/>
              </a:ext>
            </a:extLst>
          </p:cNvPr>
          <p:cNvCxnSpPr>
            <a:cxnSpLocks/>
          </p:cNvCxnSpPr>
          <p:nvPr userDrawn="1"/>
        </p:nvCxnSpPr>
        <p:spPr>
          <a:xfrm>
            <a:off x="96049" y="2060790"/>
            <a:ext cx="125195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25475-CE28-459A-B98F-FD244E7DD73B}"/>
              </a:ext>
            </a:extLst>
          </p:cNvPr>
          <p:cNvCxnSpPr>
            <a:cxnSpLocks/>
          </p:cNvCxnSpPr>
          <p:nvPr userDrawn="1"/>
        </p:nvCxnSpPr>
        <p:spPr>
          <a:xfrm>
            <a:off x="96049" y="5603694"/>
            <a:ext cx="125195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A407A58B-5C98-408D-9809-803766CD7B05}"/>
              </a:ext>
            </a:extLst>
          </p:cNvPr>
          <p:cNvSpPr/>
          <p:nvPr userDrawn="1"/>
        </p:nvSpPr>
        <p:spPr>
          <a:xfrm>
            <a:off x="6933436" y="4430076"/>
            <a:ext cx="5117812" cy="113278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t"/>
          <a:lstStyle/>
          <a:p>
            <a:endParaRPr lang="en-US" sz="714" b="1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9F4FDBE-379A-49CF-B213-B693CD5371E4}"/>
              </a:ext>
            </a:extLst>
          </p:cNvPr>
          <p:cNvSpPr/>
          <p:nvPr userDrawn="1"/>
        </p:nvSpPr>
        <p:spPr>
          <a:xfrm>
            <a:off x="1408549" y="4430076"/>
            <a:ext cx="5097756" cy="113278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t"/>
          <a:lstStyle/>
          <a:p>
            <a:endParaRPr lang="en-US" sz="714" b="1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8792218-5BC7-474A-8258-15244B031E3D}"/>
              </a:ext>
            </a:extLst>
          </p:cNvPr>
          <p:cNvSpPr/>
          <p:nvPr userDrawn="1"/>
        </p:nvSpPr>
        <p:spPr>
          <a:xfrm>
            <a:off x="6725712" y="4430076"/>
            <a:ext cx="121784" cy="112830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27989" rIns="27989" rtlCol="0" anchor="ctr"/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Cloud API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BABE246-FFC9-4F6E-964C-093C496DF72D}"/>
              </a:ext>
            </a:extLst>
          </p:cNvPr>
          <p:cNvSpPr>
            <a:spLocks/>
          </p:cNvSpPr>
          <p:nvPr userDrawn="1"/>
        </p:nvSpPr>
        <p:spPr>
          <a:xfrm>
            <a:off x="1534766" y="4531469"/>
            <a:ext cx="1517748" cy="94940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tx1"/>
                </a:solidFill>
              </a:rPr>
              <a:t>Raw Data</a:t>
            </a:r>
            <a:br>
              <a:rPr lang="en-US" sz="714" b="1">
                <a:solidFill>
                  <a:schemeClr val="tx1"/>
                </a:solidFill>
              </a:rPr>
            </a:br>
            <a:r>
              <a:rPr lang="en-US" sz="714">
                <a:solidFill>
                  <a:schemeClr val="bg1">
                    <a:lumMod val="65000"/>
                  </a:schemeClr>
                </a:solidFill>
              </a:rPr>
              <a:t>(structured, semi-structured and unstructured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EBAB0F0-CA93-4651-85A5-832C5F12950D}"/>
              </a:ext>
            </a:extLst>
          </p:cNvPr>
          <p:cNvSpPr>
            <a:spLocks/>
          </p:cNvSpPr>
          <p:nvPr userDrawn="1"/>
        </p:nvSpPr>
        <p:spPr>
          <a:xfrm>
            <a:off x="3208237" y="4531469"/>
            <a:ext cx="1517748" cy="94940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tx1"/>
                </a:solidFill>
              </a:rPr>
              <a:t>Universal Data</a:t>
            </a:r>
          </a:p>
          <a:p>
            <a:pPr algn="ctr"/>
            <a:r>
              <a:rPr lang="en-US" sz="714">
                <a:solidFill>
                  <a:schemeClr val="bg1">
                    <a:lumMod val="65000"/>
                  </a:schemeClr>
                </a:solidFill>
              </a:rPr>
              <a:t>(clean, transformed data)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B214F0E-59AC-4570-BCC6-6740F4ED7499}"/>
              </a:ext>
            </a:extLst>
          </p:cNvPr>
          <p:cNvSpPr>
            <a:spLocks/>
          </p:cNvSpPr>
          <p:nvPr userDrawn="1"/>
        </p:nvSpPr>
        <p:spPr>
          <a:xfrm>
            <a:off x="4881710" y="4531471"/>
            <a:ext cx="1517748" cy="4194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tx1"/>
                </a:solidFill>
              </a:rPr>
              <a:t>Dimensional Data</a:t>
            </a:r>
          </a:p>
          <a:p>
            <a:pPr algn="ctr"/>
            <a:r>
              <a:rPr lang="en-US" sz="714">
                <a:solidFill>
                  <a:schemeClr val="bg1">
                    <a:lumMod val="65000"/>
                  </a:schemeClr>
                </a:solidFill>
              </a:rPr>
              <a:t>(Data Marts by BUs)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7CE5918-1C1D-4548-AD3F-6FC7F6A26BE1}"/>
              </a:ext>
            </a:extLst>
          </p:cNvPr>
          <p:cNvSpPr>
            <a:spLocks/>
          </p:cNvSpPr>
          <p:nvPr userDrawn="1"/>
        </p:nvSpPr>
        <p:spPr>
          <a:xfrm>
            <a:off x="4881710" y="5061474"/>
            <a:ext cx="1517748" cy="4194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tx1"/>
                </a:solidFill>
              </a:rPr>
              <a:t>Experimental Are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969B8D5-2630-4042-ADAD-FDDD3060198B}"/>
              </a:ext>
            </a:extLst>
          </p:cNvPr>
          <p:cNvSpPr>
            <a:spLocks/>
          </p:cNvSpPr>
          <p:nvPr userDrawn="1"/>
        </p:nvSpPr>
        <p:spPr>
          <a:xfrm>
            <a:off x="7051252" y="4531469"/>
            <a:ext cx="1517748" cy="94940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tx1"/>
                </a:solidFill>
              </a:rPr>
              <a:t>Dimensional Data</a:t>
            </a:r>
          </a:p>
          <a:p>
            <a:pPr algn="ctr"/>
            <a:r>
              <a:rPr lang="en-US" sz="714">
                <a:solidFill>
                  <a:schemeClr val="bg1">
                    <a:lumMod val="65000"/>
                  </a:schemeClr>
                </a:solidFill>
              </a:rPr>
              <a:t>(Data Marts by Business Units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DE7DDE0-D33D-4BE0-8CD5-F2E8F4DE7310}"/>
              </a:ext>
            </a:extLst>
          </p:cNvPr>
          <p:cNvSpPr>
            <a:spLocks/>
          </p:cNvSpPr>
          <p:nvPr userDrawn="1"/>
        </p:nvSpPr>
        <p:spPr>
          <a:xfrm>
            <a:off x="8733466" y="4531469"/>
            <a:ext cx="1517748" cy="94940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tx1"/>
                </a:solidFill>
              </a:rPr>
              <a:t>Customer Data Platform</a:t>
            </a:r>
          </a:p>
          <a:p>
            <a:pPr algn="ctr"/>
            <a:r>
              <a:rPr lang="es-MX" sz="714">
                <a:solidFill>
                  <a:schemeClr val="bg1">
                    <a:lumMod val="65000"/>
                  </a:schemeClr>
                </a:solidFill>
              </a:rPr>
              <a:t>(</a:t>
            </a:r>
            <a:r>
              <a:rPr lang="en-US" sz="714">
                <a:solidFill>
                  <a:schemeClr val="bg1">
                    <a:lumMod val="65000"/>
                  </a:schemeClr>
                </a:solidFill>
              </a:rPr>
              <a:t>persistent, unified customer data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99060D0-B4AC-4AB6-A80F-E1ECBD795A15}"/>
              </a:ext>
            </a:extLst>
          </p:cNvPr>
          <p:cNvSpPr>
            <a:spLocks/>
          </p:cNvSpPr>
          <p:nvPr userDrawn="1"/>
        </p:nvSpPr>
        <p:spPr>
          <a:xfrm>
            <a:off x="10415680" y="4531469"/>
            <a:ext cx="1517748" cy="94940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tx1"/>
                </a:solidFill>
              </a:rPr>
              <a:t>Cross-data databases</a:t>
            </a:r>
          </a:p>
          <a:p>
            <a:pPr algn="ctr"/>
            <a:r>
              <a:rPr lang="es-MX" sz="714">
                <a:solidFill>
                  <a:schemeClr val="bg1">
                    <a:lumMod val="65000"/>
                  </a:schemeClr>
                </a:solidFill>
              </a:rPr>
              <a:t>(</a:t>
            </a:r>
            <a:r>
              <a:rPr lang="es-MX" sz="714" err="1">
                <a:solidFill>
                  <a:schemeClr val="bg1">
                    <a:lumMod val="65000"/>
                  </a:schemeClr>
                </a:solidFill>
              </a:rPr>
              <a:t>enables</a:t>
            </a:r>
            <a:r>
              <a:rPr lang="es-MX" sz="714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714">
                <a:solidFill>
                  <a:schemeClr val="bg1">
                    <a:lumMod val="65000"/>
                  </a:schemeClr>
                </a:solidFill>
              </a:rPr>
              <a:t>sharing data between channels)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689545A0-35A8-4453-94D4-2087A10E1068}"/>
              </a:ext>
            </a:extLst>
          </p:cNvPr>
          <p:cNvCxnSpPr>
            <a:cxnSpLocks/>
            <a:stCxn id="25" idx="3"/>
            <a:endCxn id="26" idx="1"/>
          </p:cNvCxnSpPr>
          <p:nvPr userDrawn="1"/>
        </p:nvCxnSpPr>
        <p:spPr>
          <a:xfrm flipV="1">
            <a:off x="6506305" y="4994227"/>
            <a:ext cx="219407" cy="2244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10A34D3-A4C1-4C93-B4ED-DC169AD432D5}"/>
              </a:ext>
            </a:extLst>
          </p:cNvPr>
          <p:cNvCxnSpPr>
            <a:cxnSpLocks/>
          </p:cNvCxnSpPr>
          <p:nvPr userDrawn="1"/>
        </p:nvCxnSpPr>
        <p:spPr>
          <a:xfrm>
            <a:off x="96049" y="4256386"/>
            <a:ext cx="125195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88256EA1-123D-4541-9155-9583353FAF51}"/>
              </a:ext>
            </a:extLst>
          </p:cNvPr>
          <p:cNvSpPr/>
          <p:nvPr userDrawn="1"/>
        </p:nvSpPr>
        <p:spPr>
          <a:xfrm>
            <a:off x="1389006" y="5663414"/>
            <a:ext cx="10662241" cy="50732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tIns="0" rIns="27989" rtlCol="0" anchor="t"/>
          <a:lstStyle/>
          <a:p>
            <a:endParaRPr lang="en-US" sz="714" b="1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9145A13-777B-4A10-ABCA-F8BB059E811D}"/>
              </a:ext>
            </a:extLst>
          </p:cNvPr>
          <p:cNvSpPr>
            <a:spLocks/>
          </p:cNvSpPr>
          <p:nvPr userDrawn="1"/>
        </p:nvSpPr>
        <p:spPr>
          <a:xfrm>
            <a:off x="7368443" y="5857211"/>
            <a:ext cx="1035332" cy="2461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Campaign data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2163113-21A1-4497-A266-F736F0E818B2}"/>
              </a:ext>
            </a:extLst>
          </p:cNvPr>
          <p:cNvSpPr>
            <a:spLocks/>
          </p:cNvSpPr>
          <p:nvPr userDrawn="1"/>
        </p:nvSpPr>
        <p:spPr>
          <a:xfrm>
            <a:off x="8535178" y="5857211"/>
            <a:ext cx="1035332" cy="2461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Conversion data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DBF45CE-07BE-41DA-9C57-CA74EB64E2C4}"/>
              </a:ext>
            </a:extLst>
          </p:cNvPr>
          <p:cNvSpPr>
            <a:spLocks/>
          </p:cNvSpPr>
          <p:nvPr userDrawn="1"/>
        </p:nvSpPr>
        <p:spPr>
          <a:xfrm>
            <a:off x="10868653" y="5857211"/>
            <a:ext cx="1035332" cy="2461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Other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AD79F1B-36EE-4CD8-AC11-0AF8D404400E}"/>
              </a:ext>
            </a:extLst>
          </p:cNvPr>
          <p:cNvSpPr>
            <a:spLocks/>
          </p:cNvSpPr>
          <p:nvPr userDrawn="1"/>
        </p:nvSpPr>
        <p:spPr>
          <a:xfrm>
            <a:off x="9701914" y="5857211"/>
            <a:ext cx="1035332" cy="2461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Sentiment data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F878DAA-7C7A-41F5-B4BE-038ABCB52151}"/>
              </a:ext>
            </a:extLst>
          </p:cNvPr>
          <p:cNvSpPr>
            <a:spLocks/>
          </p:cNvSpPr>
          <p:nvPr userDrawn="1"/>
        </p:nvSpPr>
        <p:spPr>
          <a:xfrm>
            <a:off x="2701501" y="5857211"/>
            <a:ext cx="1035332" cy="2461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Master data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0F85A49-F78E-45F8-B153-A46071337BEA}"/>
              </a:ext>
            </a:extLst>
          </p:cNvPr>
          <p:cNvSpPr>
            <a:spLocks/>
          </p:cNvSpPr>
          <p:nvPr userDrawn="1"/>
        </p:nvSpPr>
        <p:spPr>
          <a:xfrm>
            <a:off x="3868236" y="5857211"/>
            <a:ext cx="1035332" cy="2461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Customer preference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6862D43-B880-4982-985C-0E7D9875BCA9}"/>
              </a:ext>
            </a:extLst>
          </p:cNvPr>
          <p:cNvSpPr>
            <a:spLocks/>
          </p:cNvSpPr>
          <p:nvPr userDrawn="1"/>
        </p:nvSpPr>
        <p:spPr>
          <a:xfrm>
            <a:off x="1534765" y="5857211"/>
            <a:ext cx="1035332" cy="2461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Transactional data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307CB98-EA60-4051-9AA5-3630DFD79BCE}"/>
              </a:ext>
            </a:extLst>
          </p:cNvPr>
          <p:cNvSpPr>
            <a:spLocks/>
          </p:cNvSpPr>
          <p:nvPr userDrawn="1"/>
        </p:nvSpPr>
        <p:spPr>
          <a:xfrm>
            <a:off x="5034972" y="5857211"/>
            <a:ext cx="1035332" cy="2461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Third-party sourc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A8AB69D-7180-4ECA-8FCB-26AA622CC297}"/>
              </a:ext>
            </a:extLst>
          </p:cNvPr>
          <p:cNvSpPr/>
          <p:nvPr userDrawn="1"/>
        </p:nvSpPr>
        <p:spPr>
          <a:xfrm>
            <a:off x="1534765" y="5656347"/>
            <a:ext cx="1798987" cy="13103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7319" rIns="27989" rtlCol="0" anchor="t"/>
          <a:lstStyle/>
          <a:p>
            <a:r>
              <a:rPr lang="es-MX" sz="714" b="1" err="1">
                <a:solidFill>
                  <a:schemeClr val="tx1"/>
                </a:solidFill>
              </a:rPr>
              <a:t>Traditional</a:t>
            </a:r>
            <a:r>
              <a:rPr lang="es-MX" sz="714" b="1">
                <a:solidFill>
                  <a:schemeClr val="tx1"/>
                </a:solidFill>
              </a:rPr>
              <a:t> </a:t>
            </a:r>
            <a:r>
              <a:rPr lang="es-MX" sz="714" b="1" err="1">
                <a:solidFill>
                  <a:schemeClr val="tx1"/>
                </a:solidFill>
              </a:rPr>
              <a:t>sources</a:t>
            </a:r>
            <a:endParaRPr lang="en-US" sz="714" b="1">
              <a:solidFill>
                <a:schemeClr val="tx1"/>
              </a:solidFill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F282D03-43BE-4191-8C95-D5B70A854C0F}"/>
              </a:ext>
            </a:extLst>
          </p:cNvPr>
          <p:cNvCxnSpPr>
            <a:cxnSpLocks/>
          </p:cNvCxnSpPr>
          <p:nvPr userDrawn="1"/>
        </p:nvCxnSpPr>
        <p:spPr>
          <a:xfrm>
            <a:off x="1534765" y="5812171"/>
            <a:ext cx="570227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A64C0AF7-B41A-411C-A15D-31CFC3766333}"/>
              </a:ext>
            </a:extLst>
          </p:cNvPr>
          <p:cNvSpPr>
            <a:spLocks/>
          </p:cNvSpPr>
          <p:nvPr userDrawn="1"/>
        </p:nvSpPr>
        <p:spPr>
          <a:xfrm>
            <a:off x="6201707" y="5857211"/>
            <a:ext cx="1035332" cy="2461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Oth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9898020-7FDB-4D86-8EE9-5224ECF4215A}"/>
              </a:ext>
            </a:extLst>
          </p:cNvPr>
          <p:cNvSpPr/>
          <p:nvPr userDrawn="1"/>
        </p:nvSpPr>
        <p:spPr>
          <a:xfrm>
            <a:off x="7368443" y="5656347"/>
            <a:ext cx="1798987" cy="13103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7319" rIns="27989" rtlCol="0" anchor="t"/>
          <a:lstStyle/>
          <a:p>
            <a:r>
              <a:rPr lang="es-MX" sz="714" b="1">
                <a:solidFill>
                  <a:schemeClr val="tx1"/>
                </a:solidFill>
              </a:rPr>
              <a:t>Non-</a:t>
            </a:r>
            <a:r>
              <a:rPr lang="es-MX" sz="714" b="1" err="1">
                <a:solidFill>
                  <a:schemeClr val="tx1"/>
                </a:solidFill>
              </a:rPr>
              <a:t>traditional</a:t>
            </a:r>
            <a:r>
              <a:rPr lang="es-MX" sz="714" b="1">
                <a:solidFill>
                  <a:schemeClr val="tx1"/>
                </a:solidFill>
              </a:rPr>
              <a:t> </a:t>
            </a:r>
            <a:r>
              <a:rPr lang="es-MX" sz="714" b="1" err="1">
                <a:solidFill>
                  <a:schemeClr val="tx1"/>
                </a:solidFill>
              </a:rPr>
              <a:t>sources</a:t>
            </a:r>
            <a:endParaRPr lang="en-US" sz="714" b="1">
              <a:solidFill>
                <a:schemeClr val="tx1"/>
              </a:solidFill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FF979C-EFCF-4FA5-AF73-E6FA3EB51772}"/>
              </a:ext>
            </a:extLst>
          </p:cNvPr>
          <p:cNvCxnSpPr>
            <a:cxnSpLocks/>
          </p:cNvCxnSpPr>
          <p:nvPr userDrawn="1"/>
        </p:nvCxnSpPr>
        <p:spPr>
          <a:xfrm>
            <a:off x="7368443" y="5812171"/>
            <a:ext cx="453554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2A2558C-7AEA-4CB5-AAB2-59995C26984D}"/>
              </a:ext>
            </a:extLst>
          </p:cNvPr>
          <p:cNvCxnSpPr>
            <a:cxnSpLocks/>
            <a:stCxn id="26" idx="3"/>
            <a:endCxn id="24" idx="1"/>
          </p:cNvCxnSpPr>
          <p:nvPr userDrawn="1"/>
        </p:nvCxnSpPr>
        <p:spPr>
          <a:xfrm>
            <a:off x="6847496" y="4994227"/>
            <a:ext cx="85940" cy="2244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Arc 50">
            <a:extLst>
              <a:ext uri="{FF2B5EF4-FFF2-40B4-BE49-F238E27FC236}">
                <a16:creationId xmlns:a16="http://schemas.microsoft.com/office/drawing/2014/main" id="{643669FF-70E1-4661-97FE-D170884B9262}"/>
              </a:ext>
            </a:extLst>
          </p:cNvPr>
          <p:cNvSpPr/>
          <p:nvPr userDrawn="1"/>
        </p:nvSpPr>
        <p:spPr>
          <a:xfrm>
            <a:off x="6530248" y="4941516"/>
            <a:ext cx="92111" cy="139875"/>
          </a:xfrm>
          <a:prstGeom prst="arc">
            <a:avLst>
              <a:gd name="adj1" fmla="val 15714486"/>
              <a:gd name="adj2" fmla="val 5663130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714"/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6E3F4BD-03F3-425B-830A-9D94845F27E7}"/>
              </a:ext>
            </a:extLst>
          </p:cNvPr>
          <p:cNvCxnSpPr>
            <a:cxnSpLocks/>
            <a:stCxn id="51" idx="0"/>
          </p:cNvCxnSpPr>
          <p:nvPr userDrawn="1"/>
        </p:nvCxnSpPr>
        <p:spPr>
          <a:xfrm flipV="1">
            <a:off x="6566026" y="4254699"/>
            <a:ext cx="0" cy="688579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B95773A-A07B-41FF-B855-66B242046AF6}"/>
              </a:ext>
            </a:extLst>
          </p:cNvPr>
          <p:cNvCxnSpPr>
            <a:cxnSpLocks/>
          </p:cNvCxnSpPr>
          <p:nvPr userDrawn="1"/>
        </p:nvCxnSpPr>
        <p:spPr>
          <a:xfrm>
            <a:off x="6568299" y="5081391"/>
            <a:ext cx="0" cy="582024"/>
          </a:xfrm>
          <a:prstGeom prst="line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EF7E253B-6ED8-4344-8A6A-9BB70830B60E}"/>
              </a:ext>
            </a:extLst>
          </p:cNvPr>
          <p:cNvCxnSpPr>
            <a:cxnSpLocks/>
          </p:cNvCxnSpPr>
          <p:nvPr userDrawn="1"/>
        </p:nvCxnSpPr>
        <p:spPr>
          <a:xfrm flipV="1">
            <a:off x="3922841" y="5562865"/>
            <a:ext cx="0" cy="102628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939543C4-3789-4600-ADBA-0C07F251C45F}"/>
              </a:ext>
            </a:extLst>
          </p:cNvPr>
          <p:cNvCxnSpPr>
            <a:cxnSpLocks/>
          </p:cNvCxnSpPr>
          <p:nvPr userDrawn="1"/>
        </p:nvCxnSpPr>
        <p:spPr>
          <a:xfrm flipV="1">
            <a:off x="4018697" y="5562865"/>
            <a:ext cx="0" cy="102628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911EC445-2A84-4EAB-AAAA-95B93D1F9682}"/>
              </a:ext>
            </a:extLst>
          </p:cNvPr>
          <p:cNvSpPr/>
          <p:nvPr userDrawn="1"/>
        </p:nvSpPr>
        <p:spPr>
          <a:xfrm>
            <a:off x="1389005" y="659793"/>
            <a:ext cx="10662243" cy="136735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989" tIns="46649" rIns="27989" bIns="466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714" b="1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36559DB-7D68-464B-8C5B-5C1311FE121B}"/>
              </a:ext>
            </a:extLst>
          </p:cNvPr>
          <p:cNvSpPr/>
          <p:nvPr userDrawn="1"/>
        </p:nvSpPr>
        <p:spPr>
          <a:xfrm>
            <a:off x="4135686" y="652536"/>
            <a:ext cx="1162013" cy="13103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tIns="37319" rIns="27989" rtlCol="0" anchor="t"/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Web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129CD50-6E82-4D03-AB17-5F1FC9E9DBE1}"/>
              </a:ext>
            </a:extLst>
          </p:cNvPr>
          <p:cNvSpPr/>
          <p:nvPr userDrawn="1"/>
        </p:nvSpPr>
        <p:spPr>
          <a:xfrm>
            <a:off x="5462410" y="652536"/>
            <a:ext cx="1162013" cy="13103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tIns="37319" rIns="27989" rtlCol="0" anchor="t"/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Mobil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28CF951-ABB6-478E-8762-2A0FC0F682CE}"/>
              </a:ext>
            </a:extLst>
          </p:cNvPr>
          <p:cNvSpPr/>
          <p:nvPr userDrawn="1"/>
        </p:nvSpPr>
        <p:spPr>
          <a:xfrm>
            <a:off x="6789136" y="652536"/>
            <a:ext cx="1162013" cy="13103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tIns="37319" rIns="27989" rtlCol="0" anchor="t"/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Other digital channel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7199337-ED0C-4E9D-BEFB-101D2E9417B4}"/>
              </a:ext>
            </a:extLst>
          </p:cNvPr>
          <p:cNvSpPr/>
          <p:nvPr userDrawn="1"/>
        </p:nvSpPr>
        <p:spPr>
          <a:xfrm>
            <a:off x="8115861" y="652536"/>
            <a:ext cx="1162013" cy="13103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tIns="37319" rIns="27989" rtlCol="0" anchor="t"/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Paid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638F555-3FBA-46B0-B7B1-1EBCD83F4F4D}"/>
              </a:ext>
            </a:extLst>
          </p:cNvPr>
          <p:cNvSpPr/>
          <p:nvPr userDrawn="1"/>
        </p:nvSpPr>
        <p:spPr>
          <a:xfrm>
            <a:off x="2171982" y="652536"/>
            <a:ext cx="1798987" cy="13103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tIns="37319" rIns="27989" rtlCol="0" anchor="t"/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In-person</a:t>
            </a: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91339E4C-950A-43C8-BDC6-F0B7E94954F4}"/>
              </a:ext>
            </a:extLst>
          </p:cNvPr>
          <p:cNvCxnSpPr>
            <a:cxnSpLocks/>
          </p:cNvCxnSpPr>
          <p:nvPr userDrawn="1"/>
        </p:nvCxnSpPr>
        <p:spPr>
          <a:xfrm flipV="1">
            <a:off x="1524086" y="2034211"/>
            <a:ext cx="0" cy="239252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2761928D-FBA7-4138-BBC3-FB4E260803D4}"/>
              </a:ext>
            </a:extLst>
          </p:cNvPr>
          <p:cNvCxnSpPr>
            <a:cxnSpLocks/>
          </p:cNvCxnSpPr>
          <p:nvPr userDrawn="1"/>
        </p:nvCxnSpPr>
        <p:spPr>
          <a:xfrm flipV="1">
            <a:off x="11967715" y="2027144"/>
            <a:ext cx="0" cy="239958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311B0E03-8BB6-4197-8D17-87C2A50CCA0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38841" y="2034211"/>
            <a:ext cx="0" cy="2209952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E2630B61-1CE2-4B54-B878-4EC55AF45908}"/>
              </a:ext>
            </a:extLst>
          </p:cNvPr>
          <p:cNvCxnSpPr>
            <a:cxnSpLocks/>
          </p:cNvCxnSpPr>
          <p:nvPr userDrawn="1"/>
        </p:nvCxnSpPr>
        <p:spPr>
          <a:xfrm flipV="1">
            <a:off x="11309967" y="2447939"/>
            <a:ext cx="0" cy="1807214"/>
          </a:xfrm>
          <a:prstGeom prst="straightConnector1">
            <a:avLst/>
          </a:prstGeom>
          <a:ln w="19050">
            <a:solidFill>
              <a:srgbClr val="FF0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49B86305-7C83-4F7D-8D6E-BE9EF1B637D0}"/>
              </a:ext>
            </a:extLst>
          </p:cNvPr>
          <p:cNvSpPr/>
          <p:nvPr userDrawn="1"/>
        </p:nvSpPr>
        <p:spPr>
          <a:xfrm>
            <a:off x="5201144" y="2584093"/>
            <a:ext cx="4556052" cy="26398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Decisioning Engine </a:t>
            </a:r>
          </a:p>
          <a:p>
            <a:pPr algn="ctr"/>
            <a:r>
              <a:rPr lang="en-US" sz="714">
                <a:solidFill>
                  <a:schemeClr val="bg1"/>
                </a:solidFill>
              </a:rPr>
              <a:t>(engine leveraging machine learning and user pre-defined rules to provide a real time decision service)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2CE0621-59B9-4F8F-968B-06F1BD2DA2AF}"/>
              </a:ext>
            </a:extLst>
          </p:cNvPr>
          <p:cNvSpPr/>
          <p:nvPr userDrawn="1"/>
        </p:nvSpPr>
        <p:spPr>
          <a:xfrm>
            <a:off x="5201142" y="2183948"/>
            <a:ext cx="6290363" cy="263989"/>
          </a:xfrm>
          <a:prstGeom prst="rect">
            <a:avLst/>
          </a:prstGeom>
          <a:solidFill>
            <a:srgbClr val="6CB8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Microservice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8687AEE-146C-42FA-B185-9114A45BD444}"/>
              </a:ext>
            </a:extLst>
          </p:cNvPr>
          <p:cNvSpPr>
            <a:spLocks/>
          </p:cNvSpPr>
          <p:nvPr userDrawn="1"/>
        </p:nvSpPr>
        <p:spPr>
          <a:xfrm>
            <a:off x="4027930" y="2183948"/>
            <a:ext cx="1017924" cy="193459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Artificial Intelligence &amp; Machine Learning Models</a:t>
            </a:r>
            <a:br>
              <a:rPr lang="en-US" sz="714" b="1">
                <a:solidFill>
                  <a:schemeClr val="bg1"/>
                </a:solidFill>
              </a:rPr>
            </a:br>
            <a:r>
              <a:rPr lang="es-MX" sz="714">
                <a:solidFill>
                  <a:schemeClr val="bg1"/>
                </a:solidFill>
              </a:rPr>
              <a:t>(</a:t>
            </a:r>
            <a:r>
              <a:rPr lang="en-US" sz="714">
                <a:solidFill>
                  <a:schemeClr val="bg1"/>
                </a:solidFill>
              </a:rPr>
              <a:t>segmentation, propensity models, etc.)</a:t>
            </a:r>
            <a:endParaRPr lang="en-US" sz="714" b="1">
              <a:solidFill>
                <a:schemeClr val="bg1"/>
              </a:solidFill>
            </a:endParaRPr>
          </a:p>
          <a:p>
            <a:pPr algn="ctr"/>
            <a:endParaRPr lang="en-US" sz="714" b="1">
              <a:solidFill>
                <a:schemeClr val="bg1"/>
              </a:solidFill>
            </a:endParaRPr>
          </a:p>
          <a:p>
            <a:pPr algn="ctr"/>
            <a:endParaRPr lang="en-US" sz="714" b="1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399B16A-E4C8-496B-8E98-BA63DE73B1C2}"/>
              </a:ext>
            </a:extLst>
          </p:cNvPr>
          <p:cNvSpPr>
            <a:spLocks/>
          </p:cNvSpPr>
          <p:nvPr userDrawn="1"/>
        </p:nvSpPr>
        <p:spPr>
          <a:xfrm>
            <a:off x="8720785" y="2984238"/>
            <a:ext cx="1017924" cy="1134305"/>
          </a:xfrm>
          <a:prstGeom prst="rect">
            <a:avLst/>
          </a:prstGeom>
          <a:solidFill>
            <a:srgbClr val="BFBFB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endParaRPr lang="en-US" sz="714" b="1">
              <a:solidFill>
                <a:schemeClr val="bg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1EF4B17-B5B2-44E0-903F-CDDA4C1D4AF4}"/>
              </a:ext>
            </a:extLst>
          </p:cNvPr>
          <p:cNvSpPr>
            <a:spLocks/>
          </p:cNvSpPr>
          <p:nvPr userDrawn="1"/>
        </p:nvSpPr>
        <p:spPr>
          <a:xfrm>
            <a:off x="1681503" y="2183925"/>
            <a:ext cx="1017924" cy="152621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CRM Operational </a:t>
            </a:r>
          </a:p>
          <a:p>
            <a:pPr algn="ctr"/>
            <a:r>
              <a:rPr lang="en-US" sz="714">
                <a:solidFill>
                  <a:schemeClr val="bg1"/>
                </a:solidFill>
              </a:rPr>
              <a:t>(customer-facing business processes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B2B4916-D3D5-4B8C-B9D2-1123CB99BB19}"/>
              </a:ext>
            </a:extLst>
          </p:cNvPr>
          <p:cNvSpPr>
            <a:spLocks/>
          </p:cNvSpPr>
          <p:nvPr userDrawn="1"/>
        </p:nvSpPr>
        <p:spPr>
          <a:xfrm>
            <a:off x="6374358" y="2984238"/>
            <a:ext cx="1017924" cy="113430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Measurement Systems</a:t>
            </a:r>
          </a:p>
          <a:p>
            <a:pPr algn="ctr"/>
            <a:r>
              <a:rPr lang="es-MX" sz="714">
                <a:solidFill>
                  <a:schemeClr val="bg1"/>
                </a:solidFill>
              </a:rPr>
              <a:t>(Performance, ROI, A/B testing, etc.)</a:t>
            </a:r>
            <a:endParaRPr lang="en-US" sz="714">
              <a:solidFill>
                <a:schemeClr val="bg1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46DAEC9-B630-4732-8BED-8F92F75DC589}"/>
              </a:ext>
            </a:extLst>
          </p:cNvPr>
          <p:cNvSpPr>
            <a:spLocks/>
          </p:cNvSpPr>
          <p:nvPr userDrawn="1"/>
        </p:nvSpPr>
        <p:spPr>
          <a:xfrm>
            <a:off x="5201144" y="2984238"/>
            <a:ext cx="1017924" cy="113430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s-MX" sz="714" b="1">
                <a:solidFill>
                  <a:schemeClr val="bg1"/>
                </a:solidFill>
              </a:rPr>
              <a:t>Content Management System </a:t>
            </a:r>
          </a:p>
          <a:p>
            <a:pPr algn="ctr"/>
            <a:r>
              <a:rPr lang="es-MX" sz="714">
                <a:solidFill>
                  <a:schemeClr val="bg1"/>
                </a:solidFill>
              </a:rPr>
              <a:t>(c</a:t>
            </a:r>
            <a:r>
              <a:rPr lang="en-US" sz="714">
                <a:solidFill>
                  <a:schemeClr val="bg1"/>
                </a:solidFill>
              </a:rPr>
              <a:t>reation and modification of digital content)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DD87F18C-078E-4FB0-B82F-04880A416C9E}"/>
              </a:ext>
            </a:extLst>
          </p:cNvPr>
          <p:cNvSpPr>
            <a:spLocks/>
          </p:cNvSpPr>
          <p:nvPr userDrawn="1"/>
        </p:nvSpPr>
        <p:spPr>
          <a:xfrm>
            <a:off x="7547571" y="2984238"/>
            <a:ext cx="1017924" cy="113430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Offer &amp; Campaign Management System</a:t>
            </a:r>
            <a:br>
              <a:rPr lang="en-US" sz="714" b="1">
                <a:solidFill>
                  <a:schemeClr val="bg1"/>
                </a:solidFill>
              </a:rPr>
            </a:br>
            <a:r>
              <a:rPr lang="en-US" sz="714">
                <a:solidFill>
                  <a:schemeClr val="bg1"/>
                </a:solidFill>
              </a:rPr>
              <a:t>(App, Email, Web, Mobile, Push, etc.)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B4FEBFB0-4574-4F4D-A9A3-B61C574D213A}"/>
              </a:ext>
            </a:extLst>
          </p:cNvPr>
          <p:cNvSpPr>
            <a:spLocks/>
          </p:cNvSpPr>
          <p:nvPr userDrawn="1"/>
        </p:nvSpPr>
        <p:spPr>
          <a:xfrm>
            <a:off x="2854717" y="2183948"/>
            <a:ext cx="1017924" cy="1934595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Artificial Intelligence &amp; Machine Learning Models</a:t>
            </a:r>
          </a:p>
          <a:p>
            <a:pPr algn="ctr"/>
            <a:r>
              <a:rPr lang="es-MX" sz="714">
                <a:solidFill>
                  <a:schemeClr val="bg1"/>
                </a:solidFill>
              </a:rPr>
              <a:t>(</a:t>
            </a:r>
            <a:r>
              <a:rPr lang="en-US" sz="714">
                <a:solidFill>
                  <a:schemeClr val="bg1"/>
                </a:solidFill>
              </a:rPr>
              <a:t>pricing engine, profitability model, etc.)</a:t>
            </a:r>
          </a:p>
          <a:p>
            <a:pPr algn="ctr"/>
            <a:endParaRPr lang="es-MX" sz="714">
              <a:solidFill>
                <a:schemeClr val="bg1"/>
              </a:solidFill>
            </a:endParaRPr>
          </a:p>
          <a:p>
            <a:pPr algn="ctr"/>
            <a:endParaRPr lang="en-US" sz="714">
              <a:solidFill>
                <a:schemeClr val="bg1"/>
              </a:solidFill>
            </a:endParaRPr>
          </a:p>
          <a:p>
            <a:pPr algn="ctr"/>
            <a:endParaRPr lang="en-US" sz="714" b="1">
              <a:solidFill>
                <a:schemeClr val="bg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309A280-97F7-47FD-9A48-FF94CA22D625}"/>
              </a:ext>
            </a:extLst>
          </p:cNvPr>
          <p:cNvSpPr>
            <a:spLocks/>
          </p:cNvSpPr>
          <p:nvPr userDrawn="1"/>
        </p:nvSpPr>
        <p:spPr>
          <a:xfrm>
            <a:off x="9893997" y="2584093"/>
            <a:ext cx="1017924" cy="671189"/>
          </a:xfrm>
          <a:prstGeom prst="rect">
            <a:avLst/>
          </a:prstGeom>
          <a:solidFill>
            <a:srgbClr val="6CB8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Search Engine Optimization</a:t>
            </a:r>
          </a:p>
          <a:p>
            <a:pPr algn="ctr"/>
            <a:r>
              <a:rPr lang="en-US" sz="714">
                <a:solidFill>
                  <a:schemeClr val="bg1"/>
                </a:solidFill>
              </a:rPr>
              <a:t>(Analyze optimization strategies) 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79927EE-6B74-4E90-85E9-27BD07EBFA9C}"/>
              </a:ext>
            </a:extLst>
          </p:cNvPr>
          <p:cNvSpPr>
            <a:spLocks/>
          </p:cNvSpPr>
          <p:nvPr userDrawn="1"/>
        </p:nvSpPr>
        <p:spPr>
          <a:xfrm>
            <a:off x="9893997" y="3447355"/>
            <a:ext cx="1017924" cy="67118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Search Engine Marketing</a:t>
            </a:r>
          </a:p>
          <a:p>
            <a:pPr algn="ctr"/>
            <a:r>
              <a:rPr lang="en-US" sz="714">
                <a:solidFill>
                  <a:schemeClr val="bg1"/>
                </a:solidFill>
              </a:rPr>
              <a:t>(Facebook Ads, Email Marketing, etc.)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B39077F4-525E-4586-89CA-11A57C7F3278}"/>
              </a:ext>
            </a:extLst>
          </p:cNvPr>
          <p:cNvSpPr>
            <a:spLocks/>
          </p:cNvSpPr>
          <p:nvPr userDrawn="1"/>
        </p:nvSpPr>
        <p:spPr>
          <a:xfrm>
            <a:off x="1681503" y="3846776"/>
            <a:ext cx="1017924" cy="271766"/>
          </a:xfrm>
          <a:prstGeom prst="rect">
            <a:avLst/>
          </a:prstGeom>
          <a:solidFill>
            <a:srgbClr val="6CB8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Microservices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8E1742B-CFF4-4E9B-A2E4-EC0477974283}"/>
              </a:ext>
            </a:extLst>
          </p:cNvPr>
          <p:cNvSpPr>
            <a:spLocks/>
          </p:cNvSpPr>
          <p:nvPr userDrawn="1"/>
        </p:nvSpPr>
        <p:spPr>
          <a:xfrm>
            <a:off x="8808950" y="3065060"/>
            <a:ext cx="385317" cy="3613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s-MX" sz="714" b="1">
                <a:solidFill>
                  <a:schemeClr val="bg1"/>
                </a:solidFill>
              </a:rPr>
              <a:t>D</a:t>
            </a:r>
            <a:r>
              <a:rPr lang="en-US" sz="714" b="1">
                <a:solidFill>
                  <a:schemeClr val="bg1"/>
                </a:solidFill>
              </a:rPr>
              <a:t>SP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EA0EE77-74D9-46FB-A31E-D22F1591F216}"/>
              </a:ext>
            </a:extLst>
          </p:cNvPr>
          <p:cNvSpPr>
            <a:spLocks/>
          </p:cNvSpPr>
          <p:nvPr userDrawn="1"/>
        </p:nvSpPr>
        <p:spPr>
          <a:xfrm>
            <a:off x="9256864" y="3065060"/>
            <a:ext cx="385317" cy="3613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SSP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A2348F6-50E4-4BC7-8D93-B653C22E0BF2}"/>
              </a:ext>
            </a:extLst>
          </p:cNvPr>
          <p:cNvSpPr>
            <a:spLocks/>
          </p:cNvSpPr>
          <p:nvPr userDrawn="1"/>
        </p:nvSpPr>
        <p:spPr>
          <a:xfrm>
            <a:off x="8808950" y="3519628"/>
            <a:ext cx="833233" cy="5204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n-US" sz="714" b="1">
                <a:solidFill>
                  <a:schemeClr val="bg1"/>
                </a:solidFill>
              </a:rPr>
              <a:t>Ad Exchanges </a:t>
            </a:r>
          </a:p>
          <a:p>
            <a:pPr algn="ctr"/>
            <a:r>
              <a:rPr lang="en-US" sz="714">
                <a:solidFill>
                  <a:schemeClr val="bg1"/>
                </a:solidFill>
              </a:rPr>
              <a:t>(buying and selling of media advertising)</a:t>
            </a:r>
          </a:p>
        </p:txBody>
      </p: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24C1E95F-5E0B-43FE-9DD1-7D23E65151CE}"/>
              </a:ext>
            </a:extLst>
          </p:cNvPr>
          <p:cNvCxnSpPr>
            <a:cxnSpLocks/>
          </p:cNvCxnSpPr>
          <p:nvPr userDrawn="1"/>
        </p:nvCxnSpPr>
        <p:spPr>
          <a:xfrm flipV="1">
            <a:off x="2190465" y="2034211"/>
            <a:ext cx="0" cy="149714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B481C12-7D5C-474E-B1E9-C4A32BD87DA1}"/>
              </a:ext>
            </a:extLst>
          </p:cNvPr>
          <p:cNvGrpSpPr/>
          <p:nvPr userDrawn="1"/>
        </p:nvGrpSpPr>
        <p:grpSpPr>
          <a:xfrm>
            <a:off x="3271147" y="2034211"/>
            <a:ext cx="85367" cy="149714"/>
            <a:chOff x="3380799" y="2203417"/>
            <a:chExt cx="90488" cy="95180"/>
          </a:xfrm>
        </p:grpSpPr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B7EEF342-AA19-499E-BADA-AF584B49F9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80799" y="2203417"/>
              <a:ext cx="0" cy="95180"/>
            </a:xfrm>
            <a:prstGeom prst="straightConnector1">
              <a:avLst/>
            </a:prstGeom>
            <a:ln w="952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C579DEC2-A9B4-47D1-AA5C-E16E111A6BB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71287" y="2203417"/>
              <a:ext cx="0" cy="95180"/>
            </a:xfrm>
            <a:prstGeom prst="straightConnector1">
              <a:avLst/>
            </a:prstGeom>
            <a:ln w="952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0DB6CECF-524A-43B9-A4CC-750985060641}"/>
              </a:ext>
            </a:extLst>
          </p:cNvPr>
          <p:cNvGrpSpPr/>
          <p:nvPr userDrawn="1"/>
        </p:nvGrpSpPr>
        <p:grpSpPr>
          <a:xfrm>
            <a:off x="4479323" y="2034211"/>
            <a:ext cx="85367" cy="149714"/>
            <a:chOff x="3380799" y="2203417"/>
            <a:chExt cx="90488" cy="95180"/>
          </a:xfrm>
        </p:grpSpPr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9FE6A690-6749-4A15-B69B-7057E6262D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80799" y="2203417"/>
              <a:ext cx="0" cy="95180"/>
            </a:xfrm>
            <a:prstGeom prst="straightConnector1">
              <a:avLst/>
            </a:prstGeom>
            <a:ln w="952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6AECECC5-1DEF-48A3-BCE4-BB02FC8D45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71287" y="2203417"/>
              <a:ext cx="0" cy="95180"/>
            </a:xfrm>
            <a:prstGeom prst="straightConnector1">
              <a:avLst/>
            </a:prstGeom>
            <a:ln w="952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4E1A890D-4F9E-43CA-94D7-2F784C8A0AA4}"/>
              </a:ext>
            </a:extLst>
          </p:cNvPr>
          <p:cNvCxnSpPr>
            <a:cxnSpLocks/>
          </p:cNvCxnSpPr>
          <p:nvPr userDrawn="1"/>
        </p:nvCxnSpPr>
        <p:spPr>
          <a:xfrm>
            <a:off x="5045853" y="2716087"/>
            <a:ext cx="155290" cy="0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D8C225B7-D166-4D5F-8959-970BE9D249A7}"/>
              </a:ext>
            </a:extLst>
          </p:cNvPr>
          <p:cNvCxnSpPr>
            <a:cxnSpLocks/>
          </p:cNvCxnSpPr>
          <p:nvPr userDrawn="1"/>
        </p:nvCxnSpPr>
        <p:spPr>
          <a:xfrm flipV="1">
            <a:off x="5710106" y="2848083"/>
            <a:ext cx="0" cy="136156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E14CA65F-B0F7-468C-9F72-4F9A90739A94}"/>
              </a:ext>
            </a:extLst>
          </p:cNvPr>
          <p:cNvCxnSpPr>
            <a:cxnSpLocks/>
          </p:cNvCxnSpPr>
          <p:nvPr userDrawn="1"/>
        </p:nvCxnSpPr>
        <p:spPr>
          <a:xfrm flipV="1">
            <a:off x="6868622" y="2848083"/>
            <a:ext cx="0" cy="136156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29039A27-05B8-46F1-A33D-D4FC1EEA6D96}"/>
              </a:ext>
            </a:extLst>
          </p:cNvPr>
          <p:cNvCxnSpPr>
            <a:cxnSpLocks/>
          </p:cNvCxnSpPr>
          <p:nvPr userDrawn="1"/>
        </p:nvCxnSpPr>
        <p:spPr>
          <a:xfrm>
            <a:off x="8049742" y="2848083"/>
            <a:ext cx="0" cy="136156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61DCC181-E578-4A7A-A8A3-E1DAF162A0DD}"/>
              </a:ext>
            </a:extLst>
          </p:cNvPr>
          <p:cNvCxnSpPr>
            <a:cxnSpLocks/>
            <a:stCxn id="66" idx="3"/>
            <a:endCxn id="76" idx="1"/>
          </p:cNvCxnSpPr>
          <p:nvPr userDrawn="1"/>
        </p:nvCxnSpPr>
        <p:spPr>
          <a:xfrm>
            <a:off x="9757196" y="2716088"/>
            <a:ext cx="136801" cy="1066861"/>
          </a:xfrm>
          <a:prstGeom prst="bentConnector3">
            <a:avLst>
              <a:gd name="adj1" fmla="val 29564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6B36AA2D-2E1C-4DFE-A8E8-871979089AFB}"/>
              </a:ext>
            </a:extLst>
          </p:cNvPr>
          <p:cNvCxnSpPr>
            <a:cxnSpLocks/>
          </p:cNvCxnSpPr>
          <p:nvPr userDrawn="1"/>
        </p:nvCxnSpPr>
        <p:spPr>
          <a:xfrm>
            <a:off x="9794114" y="2893303"/>
            <a:ext cx="99883" cy="0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5E8B3663-0C1E-4E00-9DAD-CEA0FD2C4721}"/>
              </a:ext>
            </a:extLst>
          </p:cNvPr>
          <p:cNvCxnSpPr>
            <a:cxnSpLocks/>
          </p:cNvCxnSpPr>
          <p:nvPr userDrawn="1"/>
        </p:nvCxnSpPr>
        <p:spPr>
          <a:xfrm flipH="1">
            <a:off x="9738710" y="3947957"/>
            <a:ext cx="152752" cy="0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31CA194E-0505-420A-8E28-AC9B6E510A7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402959" y="2447937"/>
            <a:ext cx="0" cy="136156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F2CC9297-928A-4F2A-8636-B7EA7CDB1ABE}"/>
              </a:ext>
            </a:extLst>
          </p:cNvPr>
          <p:cNvCxnSpPr>
            <a:cxnSpLocks/>
            <a:stCxn id="76" idx="0"/>
          </p:cNvCxnSpPr>
          <p:nvPr userDrawn="1"/>
        </p:nvCxnSpPr>
        <p:spPr>
          <a:xfrm rot="5400000" flipH="1" flipV="1">
            <a:off x="10192440" y="2658457"/>
            <a:ext cx="999418" cy="578377"/>
          </a:xfrm>
          <a:prstGeom prst="bentConnector3">
            <a:avLst>
              <a:gd name="adj1" fmla="val 9237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F6A6D083-C213-4ACE-9B68-AE2BDE089A9C}"/>
              </a:ext>
            </a:extLst>
          </p:cNvPr>
          <p:cNvCxnSpPr>
            <a:cxnSpLocks/>
          </p:cNvCxnSpPr>
          <p:nvPr userDrawn="1"/>
        </p:nvCxnSpPr>
        <p:spPr>
          <a:xfrm>
            <a:off x="1681503" y="4255152"/>
            <a:ext cx="10065060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BDD1ED94-063D-42F5-B7AF-495DE046CF22}"/>
              </a:ext>
            </a:extLst>
          </p:cNvPr>
          <p:cNvCxnSpPr>
            <a:cxnSpLocks/>
            <a:endCxn id="70" idx="2"/>
          </p:cNvCxnSpPr>
          <p:nvPr userDrawn="1"/>
        </p:nvCxnSpPr>
        <p:spPr>
          <a:xfrm flipV="1">
            <a:off x="2190465" y="3710143"/>
            <a:ext cx="0" cy="136635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EA1BA67D-0ACB-4712-A378-46D19CCFDE75}"/>
              </a:ext>
            </a:extLst>
          </p:cNvPr>
          <p:cNvCxnSpPr>
            <a:cxnSpLocks/>
          </p:cNvCxnSpPr>
          <p:nvPr userDrawn="1"/>
        </p:nvCxnSpPr>
        <p:spPr>
          <a:xfrm flipV="1">
            <a:off x="2190465" y="4117016"/>
            <a:ext cx="0" cy="127148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218D27A8-C618-49CA-A038-FAD31D6C65E0}"/>
              </a:ext>
            </a:extLst>
          </p:cNvPr>
          <p:cNvGrpSpPr/>
          <p:nvPr userDrawn="1"/>
        </p:nvGrpSpPr>
        <p:grpSpPr>
          <a:xfrm>
            <a:off x="3271147" y="4118544"/>
            <a:ext cx="85367" cy="136609"/>
            <a:chOff x="3380799" y="2203417"/>
            <a:chExt cx="90488" cy="95180"/>
          </a:xfrm>
        </p:grpSpPr>
        <p:cxnSp>
          <p:nvCxnSpPr>
            <p:cNvPr id="101" name="Straight Arrow Connector 100">
              <a:extLst>
                <a:ext uri="{FF2B5EF4-FFF2-40B4-BE49-F238E27FC236}">
                  <a16:creationId xmlns:a16="http://schemas.microsoft.com/office/drawing/2014/main" id="{82695B59-C3A6-4FEC-8EF8-59CC15A82AD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80799" y="2203417"/>
              <a:ext cx="0" cy="95180"/>
            </a:xfrm>
            <a:prstGeom prst="straightConnector1">
              <a:avLst/>
            </a:prstGeom>
            <a:ln w="952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>
              <a:extLst>
                <a:ext uri="{FF2B5EF4-FFF2-40B4-BE49-F238E27FC236}">
                  <a16:creationId xmlns:a16="http://schemas.microsoft.com/office/drawing/2014/main" id="{D883D2EC-475A-48C9-94F0-516B48038F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71287" y="2203417"/>
              <a:ext cx="0" cy="95180"/>
            </a:xfrm>
            <a:prstGeom prst="straightConnector1">
              <a:avLst/>
            </a:prstGeom>
            <a:ln w="952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5E4AC0D7-617E-4728-86F9-57B76FE00B67}"/>
              </a:ext>
            </a:extLst>
          </p:cNvPr>
          <p:cNvGrpSpPr/>
          <p:nvPr userDrawn="1"/>
        </p:nvGrpSpPr>
        <p:grpSpPr>
          <a:xfrm>
            <a:off x="4479323" y="4118544"/>
            <a:ext cx="85367" cy="136609"/>
            <a:chOff x="3380799" y="2203417"/>
            <a:chExt cx="90488" cy="95180"/>
          </a:xfrm>
        </p:grpSpPr>
        <p:cxnSp>
          <p:nvCxnSpPr>
            <p:cNvPr id="104" name="Straight Arrow Connector 103">
              <a:extLst>
                <a:ext uri="{FF2B5EF4-FFF2-40B4-BE49-F238E27FC236}">
                  <a16:creationId xmlns:a16="http://schemas.microsoft.com/office/drawing/2014/main" id="{41F488C1-052A-40FD-AC00-A038AC4F9A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80799" y="2203417"/>
              <a:ext cx="0" cy="95180"/>
            </a:xfrm>
            <a:prstGeom prst="straightConnector1">
              <a:avLst/>
            </a:prstGeom>
            <a:ln w="952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26A182BE-BD98-4C47-8B81-2D2572C361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71287" y="2203417"/>
              <a:ext cx="0" cy="95180"/>
            </a:xfrm>
            <a:prstGeom prst="straightConnector1">
              <a:avLst/>
            </a:prstGeom>
            <a:ln w="952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5F18AFB6-7781-4028-B7DA-7C910D717AE7}"/>
              </a:ext>
            </a:extLst>
          </p:cNvPr>
          <p:cNvCxnSpPr>
            <a:cxnSpLocks/>
          </p:cNvCxnSpPr>
          <p:nvPr userDrawn="1"/>
        </p:nvCxnSpPr>
        <p:spPr>
          <a:xfrm flipV="1">
            <a:off x="5710106" y="4118544"/>
            <a:ext cx="0" cy="136609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64E9C5A6-04E5-4DD1-9747-9A95623E479E}"/>
              </a:ext>
            </a:extLst>
          </p:cNvPr>
          <p:cNvCxnSpPr>
            <a:cxnSpLocks/>
          </p:cNvCxnSpPr>
          <p:nvPr userDrawn="1"/>
        </p:nvCxnSpPr>
        <p:spPr>
          <a:xfrm flipV="1">
            <a:off x="6868622" y="4118544"/>
            <a:ext cx="0" cy="136609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1EE75037-E5EC-42BA-A25F-032FD4E99DA7}"/>
              </a:ext>
            </a:extLst>
          </p:cNvPr>
          <p:cNvCxnSpPr>
            <a:cxnSpLocks/>
          </p:cNvCxnSpPr>
          <p:nvPr userDrawn="1"/>
        </p:nvCxnSpPr>
        <p:spPr>
          <a:xfrm>
            <a:off x="8049742" y="4118544"/>
            <a:ext cx="0" cy="136609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12C85421-A159-4D5A-AAD7-CB5AFFF9E206}"/>
              </a:ext>
            </a:extLst>
          </p:cNvPr>
          <p:cNvCxnSpPr>
            <a:cxnSpLocks/>
          </p:cNvCxnSpPr>
          <p:nvPr userDrawn="1"/>
        </p:nvCxnSpPr>
        <p:spPr>
          <a:xfrm flipH="1">
            <a:off x="3957427" y="4255171"/>
            <a:ext cx="0" cy="171561"/>
          </a:xfrm>
          <a:prstGeom prst="straightConnector1">
            <a:avLst/>
          </a:prstGeom>
          <a:ln w="952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66AA23C8-6AB9-41CC-9BA5-0A0A01257963}"/>
              </a:ext>
            </a:extLst>
          </p:cNvPr>
          <p:cNvCxnSpPr>
            <a:cxnSpLocks/>
          </p:cNvCxnSpPr>
          <p:nvPr userDrawn="1"/>
        </p:nvCxnSpPr>
        <p:spPr>
          <a:xfrm flipH="1">
            <a:off x="9533880" y="4255171"/>
            <a:ext cx="0" cy="171561"/>
          </a:xfrm>
          <a:prstGeom prst="straightConnector1">
            <a:avLst/>
          </a:prstGeom>
          <a:ln w="952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23D35FEA-DE29-488E-B1C9-E2CB73C21842}"/>
              </a:ext>
            </a:extLst>
          </p:cNvPr>
          <p:cNvCxnSpPr>
            <a:cxnSpLocks/>
          </p:cNvCxnSpPr>
          <p:nvPr userDrawn="1"/>
        </p:nvCxnSpPr>
        <p:spPr>
          <a:xfrm flipH="1">
            <a:off x="4065913" y="4255171"/>
            <a:ext cx="0" cy="171561"/>
          </a:xfrm>
          <a:prstGeom prst="straightConnector1">
            <a:avLst/>
          </a:prstGeom>
          <a:ln w="9525">
            <a:solidFill>
              <a:srgbClr val="0070C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0F565D1A-1DD4-46B8-8C74-25922412A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346322" y="2015523"/>
            <a:ext cx="0" cy="171561"/>
          </a:xfrm>
          <a:prstGeom prst="straightConnector1">
            <a:avLst/>
          </a:prstGeom>
          <a:ln w="952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5D83F65D-5F1E-4AC7-A538-9264616754E1}"/>
              </a:ext>
            </a:extLst>
          </p:cNvPr>
          <p:cNvCxnSpPr>
            <a:cxnSpLocks/>
          </p:cNvCxnSpPr>
          <p:nvPr userDrawn="1"/>
        </p:nvCxnSpPr>
        <p:spPr>
          <a:xfrm>
            <a:off x="2171982" y="810995"/>
            <a:ext cx="180360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9E1362ED-6B7D-4C69-A48B-372806F2E8B3}"/>
              </a:ext>
            </a:extLst>
          </p:cNvPr>
          <p:cNvCxnSpPr>
            <a:cxnSpLocks/>
          </p:cNvCxnSpPr>
          <p:nvPr userDrawn="1"/>
        </p:nvCxnSpPr>
        <p:spPr>
          <a:xfrm>
            <a:off x="4133154" y="810995"/>
            <a:ext cx="116454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EB6CAE90-D8D8-43F5-8575-6668DC7FB150}"/>
              </a:ext>
            </a:extLst>
          </p:cNvPr>
          <p:cNvCxnSpPr>
            <a:cxnSpLocks/>
          </p:cNvCxnSpPr>
          <p:nvPr userDrawn="1"/>
        </p:nvCxnSpPr>
        <p:spPr>
          <a:xfrm>
            <a:off x="5459879" y="810995"/>
            <a:ext cx="116454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C58CA6B-374E-439D-9F00-548CFFB58F26}"/>
              </a:ext>
            </a:extLst>
          </p:cNvPr>
          <p:cNvCxnSpPr>
            <a:cxnSpLocks/>
          </p:cNvCxnSpPr>
          <p:nvPr userDrawn="1"/>
        </p:nvCxnSpPr>
        <p:spPr>
          <a:xfrm>
            <a:off x="6786605" y="810995"/>
            <a:ext cx="116454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A3C417B-21BE-42C6-93C1-75362791D783}"/>
              </a:ext>
            </a:extLst>
          </p:cNvPr>
          <p:cNvCxnSpPr>
            <a:cxnSpLocks/>
          </p:cNvCxnSpPr>
          <p:nvPr userDrawn="1"/>
        </p:nvCxnSpPr>
        <p:spPr>
          <a:xfrm>
            <a:off x="8113329" y="810995"/>
            <a:ext cx="116454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5923130F-F465-44E4-9F73-ABD467CD5B88}"/>
              </a:ext>
            </a:extLst>
          </p:cNvPr>
          <p:cNvSpPr/>
          <p:nvPr userDrawn="1"/>
        </p:nvSpPr>
        <p:spPr>
          <a:xfrm>
            <a:off x="5462412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YAPE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AEA671E3-4EA3-4307-BA77-D2C98353FDD0}"/>
              </a:ext>
            </a:extLst>
          </p:cNvPr>
          <p:cNvSpPr/>
          <p:nvPr userDrawn="1"/>
        </p:nvSpPr>
        <p:spPr>
          <a:xfrm>
            <a:off x="6099387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Others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76C6C8BC-E031-4CC2-BACD-DC41308FEE38}"/>
              </a:ext>
            </a:extLst>
          </p:cNvPr>
          <p:cNvSpPr/>
          <p:nvPr userDrawn="1"/>
        </p:nvSpPr>
        <p:spPr>
          <a:xfrm>
            <a:off x="6789136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Whatsapp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BC8A6D6-A41F-449F-A274-D29565D9AE61}"/>
              </a:ext>
            </a:extLst>
          </p:cNvPr>
          <p:cNvSpPr/>
          <p:nvPr userDrawn="1"/>
        </p:nvSpPr>
        <p:spPr>
          <a:xfrm>
            <a:off x="7426114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Social Networks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824ED59-8C8B-4BB4-ACBA-B22743411109}"/>
              </a:ext>
            </a:extLst>
          </p:cNvPr>
          <p:cNvSpPr/>
          <p:nvPr userDrawn="1"/>
        </p:nvSpPr>
        <p:spPr>
          <a:xfrm>
            <a:off x="8115863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Search engines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8AF4EC12-FE0D-465F-9F7C-4E2B94AC05B8}"/>
              </a:ext>
            </a:extLst>
          </p:cNvPr>
          <p:cNvSpPr/>
          <p:nvPr userDrawn="1"/>
        </p:nvSpPr>
        <p:spPr>
          <a:xfrm>
            <a:off x="9442588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Funcion-arios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CAF9ECE9-C416-4A40-B608-0B2E40752791}"/>
              </a:ext>
            </a:extLst>
          </p:cNvPr>
          <p:cNvSpPr/>
          <p:nvPr userDrawn="1"/>
        </p:nvSpPr>
        <p:spPr>
          <a:xfrm>
            <a:off x="10079564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Banca por teléfono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6E271E6B-B246-4AA6-B84A-9F4E33B2E226}"/>
              </a:ext>
            </a:extLst>
          </p:cNvPr>
          <p:cNvSpPr/>
          <p:nvPr userDrawn="1"/>
        </p:nvSpPr>
        <p:spPr>
          <a:xfrm>
            <a:off x="4135687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Somos BCP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CA8EC958-AB0A-456D-9622-579480BCF486}"/>
              </a:ext>
            </a:extLst>
          </p:cNvPr>
          <p:cNvSpPr/>
          <p:nvPr userDrawn="1"/>
        </p:nvSpPr>
        <p:spPr>
          <a:xfrm>
            <a:off x="4772663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Web Satélite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4E47FE25-20FB-41A5-860D-EEE58BB8CD6E}"/>
              </a:ext>
            </a:extLst>
          </p:cNvPr>
          <p:cNvSpPr/>
          <p:nvPr userDrawn="1"/>
        </p:nvSpPr>
        <p:spPr>
          <a:xfrm>
            <a:off x="2808957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Funcio-</a:t>
            </a:r>
          </a:p>
          <a:p>
            <a:pPr algn="ctr"/>
            <a:r>
              <a:rPr lang="en-US" sz="714">
                <a:solidFill>
                  <a:schemeClr val="tx1"/>
                </a:solidFill>
              </a:rPr>
              <a:t>narios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83CB46BC-82FA-4A01-B53E-0D0DC961F72C}"/>
              </a:ext>
            </a:extLst>
          </p:cNvPr>
          <p:cNvSpPr/>
          <p:nvPr userDrawn="1"/>
        </p:nvSpPr>
        <p:spPr>
          <a:xfrm>
            <a:off x="3445932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CRM Ops.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9C7B349F-E9D0-40A1-A9F6-5EFF6D630756}"/>
              </a:ext>
            </a:extLst>
          </p:cNvPr>
          <p:cNvSpPr/>
          <p:nvPr userDrawn="1"/>
        </p:nvSpPr>
        <p:spPr>
          <a:xfrm>
            <a:off x="2171982" y="1215580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FFVV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A176E9C-237A-4CB5-B2C9-B4FCFFFFF816}"/>
              </a:ext>
            </a:extLst>
          </p:cNvPr>
          <p:cNvSpPr/>
          <p:nvPr userDrawn="1"/>
        </p:nvSpPr>
        <p:spPr>
          <a:xfrm>
            <a:off x="5462412" y="861849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Banca Móvil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F4F3D566-BAB4-408C-8937-F7288A8A3333}"/>
              </a:ext>
            </a:extLst>
          </p:cNvPr>
          <p:cNvSpPr/>
          <p:nvPr userDrawn="1"/>
        </p:nvSpPr>
        <p:spPr>
          <a:xfrm>
            <a:off x="6099387" y="861849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App Gremio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664A2C6-D77B-448C-A550-030CFD2BB015}"/>
              </a:ext>
            </a:extLst>
          </p:cNvPr>
          <p:cNvSpPr/>
          <p:nvPr userDrawn="1"/>
        </p:nvSpPr>
        <p:spPr>
          <a:xfrm>
            <a:off x="6789136" y="861849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Email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B5E712A6-D847-4108-9F5B-88D1B93BB79C}"/>
              </a:ext>
            </a:extLst>
          </p:cNvPr>
          <p:cNvSpPr/>
          <p:nvPr userDrawn="1"/>
        </p:nvSpPr>
        <p:spPr>
          <a:xfrm>
            <a:off x="7426114" y="861849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SM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86AFA74A-4A02-4F40-8C94-0881C5F750B2}"/>
              </a:ext>
            </a:extLst>
          </p:cNvPr>
          <p:cNvSpPr/>
          <p:nvPr userDrawn="1"/>
        </p:nvSpPr>
        <p:spPr>
          <a:xfrm>
            <a:off x="8115863" y="861849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Display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FA8D0C5-DB7A-442F-9724-EEC561AA2C9B}"/>
              </a:ext>
            </a:extLst>
          </p:cNvPr>
          <p:cNvSpPr/>
          <p:nvPr userDrawn="1"/>
        </p:nvSpPr>
        <p:spPr>
          <a:xfrm>
            <a:off x="4135687" y="861849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Vía BCP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F1029244-86BF-4C2A-8DA5-A29A715AA983}"/>
              </a:ext>
            </a:extLst>
          </p:cNvPr>
          <p:cNvSpPr/>
          <p:nvPr userDrawn="1"/>
        </p:nvSpPr>
        <p:spPr>
          <a:xfrm>
            <a:off x="4772663" y="861849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Home Banking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E07B0FED-C67D-42B3-A3DE-3AA98A31B053}"/>
              </a:ext>
            </a:extLst>
          </p:cNvPr>
          <p:cNvSpPr/>
          <p:nvPr userDrawn="1"/>
        </p:nvSpPr>
        <p:spPr>
          <a:xfrm>
            <a:off x="2808957" y="861849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Agente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B542C98-1845-4C24-B9A6-60F55C2ECF12}"/>
              </a:ext>
            </a:extLst>
          </p:cNvPr>
          <p:cNvSpPr/>
          <p:nvPr userDrawn="1"/>
        </p:nvSpPr>
        <p:spPr>
          <a:xfrm>
            <a:off x="3445932" y="861849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>
                <a:solidFill>
                  <a:schemeClr val="tx1"/>
                </a:solidFill>
              </a:rPr>
              <a:t>Mail físico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319FD8B0-328A-4F75-91AA-1B974983B354}"/>
              </a:ext>
            </a:extLst>
          </p:cNvPr>
          <p:cNvSpPr/>
          <p:nvPr userDrawn="1"/>
        </p:nvSpPr>
        <p:spPr>
          <a:xfrm>
            <a:off x="2171982" y="861849"/>
            <a:ext cx="525037" cy="2371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/>
          <a:lstStyle/>
          <a:p>
            <a:pPr algn="ctr"/>
            <a:r>
              <a:rPr lang="en-US" sz="714" err="1">
                <a:solidFill>
                  <a:schemeClr val="tx1"/>
                </a:solidFill>
              </a:rPr>
              <a:t>Agencia</a:t>
            </a:r>
            <a:endParaRPr lang="en-US" sz="714">
              <a:solidFill>
                <a:schemeClr val="tx1"/>
              </a:solidFill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9B0C5D93-AEEE-4ACE-90E9-77DB73719C3C}"/>
              </a:ext>
            </a:extLst>
          </p:cNvPr>
          <p:cNvSpPr/>
          <p:nvPr userDrawn="1"/>
        </p:nvSpPr>
        <p:spPr>
          <a:xfrm>
            <a:off x="1434546" y="861849"/>
            <a:ext cx="588316" cy="569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tIns="37319" rIns="27989" rtlCol="0" anchor="ctr"/>
          <a:lstStyle/>
          <a:p>
            <a:pPr algn="r"/>
            <a:r>
              <a:rPr lang="en-US" sz="714" b="1">
                <a:solidFill>
                  <a:schemeClr val="tx1"/>
                </a:solidFill>
              </a:rPr>
              <a:t>Channels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D677E34E-EAB1-4612-9AC8-4E235DD2C397}"/>
              </a:ext>
            </a:extLst>
          </p:cNvPr>
          <p:cNvCxnSpPr>
            <a:cxnSpLocks/>
          </p:cNvCxnSpPr>
          <p:nvPr userDrawn="1"/>
        </p:nvCxnSpPr>
        <p:spPr>
          <a:xfrm>
            <a:off x="2087693" y="861849"/>
            <a:ext cx="0" cy="56902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80A7ABCB-1E6B-4EF3-A2BA-0923180599AC}"/>
              </a:ext>
            </a:extLst>
          </p:cNvPr>
          <p:cNvSpPr/>
          <p:nvPr userDrawn="1"/>
        </p:nvSpPr>
        <p:spPr>
          <a:xfrm>
            <a:off x="1434546" y="1569311"/>
            <a:ext cx="588316" cy="2869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tIns="37319" rIns="27989" rtlCol="0" anchor="ctr"/>
          <a:lstStyle/>
          <a:p>
            <a:pPr algn="r"/>
            <a:r>
              <a:rPr lang="en-US" sz="714" b="1">
                <a:solidFill>
                  <a:schemeClr val="tx1"/>
                </a:solidFill>
              </a:rPr>
              <a:t>Reporting &amp; Analytics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5EFA9736-B0E6-4472-B68A-BA86F560C150}"/>
              </a:ext>
            </a:extLst>
          </p:cNvPr>
          <p:cNvCxnSpPr>
            <a:cxnSpLocks/>
          </p:cNvCxnSpPr>
          <p:nvPr userDrawn="1"/>
        </p:nvCxnSpPr>
        <p:spPr>
          <a:xfrm>
            <a:off x="2087693" y="1569311"/>
            <a:ext cx="0" cy="2869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6A3F6935-BD92-4853-ACDA-6C16E6F4B56F}"/>
              </a:ext>
            </a:extLst>
          </p:cNvPr>
          <p:cNvCxnSpPr>
            <a:cxnSpLocks/>
          </p:cNvCxnSpPr>
          <p:nvPr userDrawn="1"/>
        </p:nvCxnSpPr>
        <p:spPr>
          <a:xfrm>
            <a:off x="2171982" y="1511000"/>
            <a:ext cx="975934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1E1C6583-CA5C-46B6-AAF6-DD1D31D57A0A}"/>
              </a:ext>
            </a:extLst>
          </p:cNvPr>
          <p:cNvCxnSpPr>
            <a:cxnSpLocks/>
          </p:cNvCxnSpPr>
          <p:nvPr userDrawn="1"/>
        </p:nvCxnSpPr>
        <p:spPr>
          <a:xfrm>
            <a:off x="2171982" y="1912225"/>
            <a:ext cx="975934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angle 145">
            <a:extLst>
              <a:ext uri="{FF2B5EF4-FFF2-40B4-BE49-F238E27FC236}">
                <a16:creationId xmlns:a16="http://schemas.microsoft.com/office/drawing/2014/main" id="{D2530853-E2F7-4689-9C13-DCAFDE611E4C}"/>
              </a:ext>
            </a:extLst>
          </p:cNvPr>
          <p:cNvSpPr>
            <a:spLocks/>
          </p:cNvSpPr>
          <p:nvPr userDrawn="1"/>
        </p:nvSpPr>
        <p:spPr>
          <a:xfrm>
            <a:off x="2171981" y="1569311"/>
            <a:ext cx="3125705" cy="2846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s-MX" sz="714">
                <a:solidFill>
                  <a:schemeClr val="tx1"/>
                </a:solidFill>
              </a:rPr>
              <a:t>Business </a:t>
            </a:r>
            <a:r>
              <a:rPr lang="es-MX" sz="714" err="1">
                <a:solidFill>
                  <a:schemeClr val="tx1"/>
                </a:solidFill>
              </a:rPr>
              <a:t>Intelligence</a:t>
            </a:r>
            <a:r>
              <a:rPr lang="es-MX" sz="714">
                <a:solidFill>
                  <a:schemeClr val="tx1"/>
                </a:solidFill>
              </a:rPr>
              <a:t> &amp; </a:t>
            </a:r>
            <a:r>
              <a:rPr lang="es-MX" sz="714" err="1">
                <a:solidFill>
                  <a:schemeClr val="tx1"/>
                </a:solidFill>
              </a:rPr>
              <a:t>Reporting</a:t>
            </a:r>
            <a:endParaRPr lang="en-US" sz="714">
              <a:solidFill>
                <a:schemeClr val="tx1"/>
              </a:solidFill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D0E08FE9-9AE6-40A3-AA7E-070DE5BCCF03}"/>
              </a:ext>
            </a:extLst>
          </p:cNvPr>
          <p:cNvSpPr>
            <a:spLocks/>
          </p:cNvSpPr>
          <p:nvPr userDrawn="1"/>
        </p:nvSpPr>
        <p:spPr>
          <a:xfrm>
            <a:off x="5462411" y="1569311"/>
            <a:ext cx="3178487" cy="2846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s-MX" sz="714" err="1">
                <a:solidFill>
                  <a:schemeClr val="tx1"/>
                </a:solidFill>
              </a:rPr>
              <a:t>Advanced</a:t>
            </a:r>
            <a:r>
              <a:rPr lang="es-MX" sz="714">
                <a:solidFill>
                  <a:schemeClr val="tx1"/>
                </a:solidFill>
              </a:rPr>
              <a:t> Analytics</a:t>
            </a:r>
            <a:endParaRPr lang="en-US" sz="714">
              <a:solidFill>
                <a:schemeClr val="tx1"/>
              </a:solidFill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5B4154C4-D875-4411-BEEC-9F73C49680D2}"/>
              </a:ext>
            </a:extLst>
          </p:cNvPr>
          <p:cNvSpPr>
            <a:spLocks/>
          </p:cNvSpPr>
          <p:nvPr userDrawn="1"/>
        </p:nvSpPr>
        <p:spPr>
          <a:xfrm>
            <a:off x="8752829" y="1569311"/>
            <a:ext cx="3180599" cy="2846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rIns="27989" rtlCol="0" anchor="ctr">
            <a:noAutofit/>
          </a:bodyPr>
          <a:lstStyle/>
          <a:p>
            <a:pPr algn="ctr"/>
            <a:r>
              <a:rPr lang="es-MX" sz="714">
                <a:solidFill>
                  <a:schemeClr val="tx1"/>
                </a:solidFill>
              </a:rPr>
              <a:t>Data Discovery</a:t>
            </a:r>
            <a:endParaRPr lang="en-US" sz="714">
              <a:solidFill>
                <a:schemeClr val="tx1"/>
              </a:solidFill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F25B27FE-CADB-4697-8E82-45EE5548C6D2}"/>
              </a:ext>
            </a:extLst>
          </p:cNvPr>
          <p:cNvSpPr/>
          <p:nvPr userDrawn="1"/>
        </p:nvSpPr>
        <p:spPr>
          <a:xfrm>
            <a:off x="1389006" y="6215503"/>
            <a:ext cx="10662241" cy="31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tIns="0" rIns="27989" rtlCol="0" anchor="ctr"/>
          <a:lstStyle/>
          <a:p>
            <a:pPr algn="ctr"/>
            <a:r>
              <a:rPr lang="es-MX" sz="714" b="1">
                <a:solidFill>
                  <a:schemeClr val="tx1"/>
                </a:solidFill>
              </a:rPr>
              <a:t>Data </a:t>
            </a:r>
            <a:r>
              <a:rPr lang="es-MX" sz="714" b="1" err="1">
                <a:solidFill>
                  <a:schemeClr val="tx1"/>
                </a:solidFill>
              </a:rPr>
              <a:t>Governance</a:t>
            </a:r>
            <a:r>
              <a:rPr lang="es-MX" sz="714" b="1">
                <a:solidFill>
                  <a:schemeClr val="tx1"/>
                </a:solidFill>
              </a:rPr>
              <a:t>, Data </a:t>
            </a:r>
            <a:r>
              <a:rPr lang="es-MX" sz="714" b="1" err="1">
                <a:solidFill>
                  <a:schemeClr val="tx1"/>
                </a:solidFill>
              </a:rPr>
              <a:t>Quality</a:t>
            </a:r>
            <a:r>
              <a:rPr lang="es-MX" sz="714" b="1">
                <a:solidFill>
                  <a:schemeClr val="tx1"/>
                </a:solidFill>
              </a:rPr>
              <a:t>, </a:t>
            </a:r>
            <a:r>
              <a:rPr lang="es-MX" sz="714" b="1" err="1">
                <a:solidFill>
                  <a:schemeClr val="tx1"/>
                </a:solidFill>
              </a:rPr>
              <a:t>Metadata</a:t>
            </a:r>
            <a:r>
              <a:rPr lang="es-MX" sz="714" b="1">
                <a:solidFill>
                  <a:schemeClr val="tx1"/>
                </a:solidFill>
              </a:rPr>
              <a:t> Management and Data Security</a:t>
            </a:r>
            <a:endParaRPr lang="en-US" sz="714" b="1">
              <a:solidFill>
                <a:schemeClr val="tx1"/>
              </a:solidFill>
            </a:endParaRPr>
          </a:p>
        </p:txBody>
      </p: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93CC7483-3CE3-4313-AB0E-43FAE5091FB5}"/>
              </a:ext>
            </a:extLst>
          </p:cNvPr>
          <p:cNvCxnSpPr>
            <a:cxnSpLocks/>
          </p:cNvCxnSpPr>
          <p:nvPr userDrawn="1"/>
        </p:nvCxnSpPr>
        <p:spPr>
          <a:xfrm>
            <a:off x="96049" y="6170735"/>
            <a:ext cx="125195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>
            <a:extLst>
              <a:ext uri="{FF2B5EF4-FFF2-40B4-BE49-F238E27FC236}">
                <a16:creationId xmlns:a16="http://schemas.microsoft.com/office/drawing/2014/main" id="{A5466BB4-3047-4B1F-B8AD-786C201F0226}"/>
              </a:ext>
            </a:extLst>
          </p:cNvPr>
          <p:cNvSpPr/>
          <p:nvPr userDrawn="1"/>
        </p:nvSpPr>
        <p:spPr>
          <a:xfrm>
            <a:off x="162440" y="6137508"/>
            <a:ext cx="799944" cy="4696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989" tIns="0" rIns="27989" rtlCol="0" anchor="ctr"/>
          <a:lstStyle/>
          <a:p>
            <a:r>
              <a:rPr lang="en-US" sz="714" b="1">
                <a:solidFill>
                  <a:schemeClr val="bg1"/>
                </a:solidFill>
              </a:rPr>
              <a:t>Data Management &amp; Security</a:t>
            </a:r>
          </a:p>
        </p:txBody>
      </p:sp>
      <p:pic>
        <p:nvPicPr>
          <p:cNvPr id="152" name="CustomIcon">
            <a:extLst>
              <a:ext uri="{FF2B5EF4-FFF2-40B4-BE49-F238E27FC236}">
                <a16:creationId xmlns:a16="http://schemas.microsoft.com/office/drawing/2014/main" id="{06A08883-C65F-4A33-B967-C360AA6A00D6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1199" y="5812172"/>
            <a:ext cx="184654" cy="180568"/>
          </a:xfrm>
          <a:prstGeom prst="rect">
            <a:avLst/>
          </a:prstGeom>
        </p:spPr>
      </p:pic>
      <p:pic>
        <p:nvPicPr>
          <p:cNvPr id="153" name="CustomIcon">
            <a:extLst>
              <a:ext uri="{FF2B5EF4-FFF2-40B4-BE49-F238E27FC236}">
                <a16:creationId xmlns:a16="http://schemas.microsoft.com/office/drawing/2014/main" id="{E69A2477-8F1D-4526-9107-5A3C9253D72D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73808" y="4854187"/>
            <a:ext cx="219437" cy="214582"/>
          </a:xfrm>
          <a:prstGeom prst="rect">
            <a:avLst/>
          </a:prstGeom>
        </p:spPr>
      </p:pic>
      <p:pic>
        <p:nvPicPr>
          <p:cNvPr id="154" name="CustomIcon">
            <a:extLst>
              <a:ext uri="{FF2B5EF4-FFF2-40B4-BE49-F238E27FC236}">
                <a16:creationId xmlns:a16="http://schemas.microsoft.com/office/drawing/2014/main" id="{7DB80236-0379-4AAF-8AF5-B11EA1D6BDBE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73808" y="1278867"/>
            <a:ext cx="219437" cy="214582"/>
          </a:xfrm>
          <a:prstGeom prst="rect">
            <a:avLst/>
          </a:prstGeom>
        </p:spPr>
      </p:pic>
      <p:pic>
        <p:nvPicPr>
          <p:cNvPr id="155" name="CustomIcon">
            <a:extLst>
              <a:ext uri="{FF2B5EF4-FFF2-40B4-BE49-F238E27FC236}">
                <a16:creationId xmlns:a16="http://schemas.microsoft.com/office/drawing/2014/main" id="{DC91C8CE-49D3-41AB-9520-B493DFD5C693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89095" y="6255725"/>
            <a:ext cx="188860" cy="188858"/>
          </a:xfrm>
          <a:prstGeom prst="rect">
            <a:avLst/>
          </a:prstGeom>
        </p:spPr>
      </p:pic>
      <p:pic>
        <p:nvPicPr>
          <p:cNvPr id="156" name="CustomIcon">
            <a:extLst>
              <a:ext uri="{FF2B5EF4-FFF2-40B4-BE49-F238E27FC236}">
                <a16:creationId xmlns:a16="http://schemas.microsoft.com/office/drawing/2014/main" id="{C664DB07-1BFD-4FB0-A97F-C0719886343E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73808" y="3018354"/>
            <a:ext cx="219437" cy="214582"/>
          </a:xfrm>
          <a:prstGeom prst="rect">
            <a:avLst/>
          </a:prstGeom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F8CE7444-E410-4EF4-912F-7927E30C7CEE}"/>
              </a:ext>
            </a:extLst>
          </p:cNvPr>
          <p:cNvSpPr/>
          <p:nvPr userDrawn="1"/>
        </p:nvSpPr>
        <p:spPr>
          <a:xfrm>
            <a:off x="1335868" y="605393"/>
            <a:ext cx="10760083" cy="5939475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989" tIns="46649" rIns="27989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14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296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8369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413" imgH="416" progId="TCLayout.ActiveDocument.1">
                  <p:embed/>
                </p:oleObj>
              </mc:Choice>
              <mc:Fallback>
                <p:oleObj name="Diapositiva de think-cell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PE" sz="800" err="1"/>
              <a:t>Source</a:t>
            </a:r>
            <a:r>
              <a:rPr lang="es-PE" sz="800"/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s-PE" err="1"/>
              <a:t>Chapter</a:t>
            </a:r>
            <a:r>
              <a:rPr lang="es-PE"/>
              <a:t> › </a:t>
            </a:r>
            <a:r>
              <a:rPr lang="es-PE" err="1"/>
              <a:t>Topic</a:t>
            </a:r>
            <a:endParaRPr lang="es-PE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>
            <a:lvl1pPr rtl="0">
              <a:defRPr/>
            </a:lvl1pPr>
          </a:lstStyle>
          <a:p>
            <a:r>
              <a:rPr lang="es-PE" sz="1600" err="1"/>
              <a:t>Click</a:t>
            </a:r>
            <a:r>
              <a:rPr lang="es-PE" sz="1600"/>
              <a:t> </a:t>
            </a:r>
            <a:r>
              <a:rPr lang="es-PE" sz="1600" err="1"/>
              <a:t>to</a:t>
            </a:r>
            <a:r>
              <a:rPr lang="es-PE" sz="1600"/>
              <a:t> </a:t>
            </a:r>
            <a:r>
              <a:rPr lang="es-PE" sz="1600" err="1"/>
              <a:t>edit</a:t>
            </a:r>
            <a:r>
              <a:rPr lang="es-PE" sz="1600"/>
              <a:t> Master </a:t>
            </a:r>
            <a:r>
              <a:rPr lang="es-PE" sz="1600" err="1"/>
              <a:t>subtitle</a:t>
            </a:r>
            <a:r>
              <a:rPr lang="es-PE" sz="1600"/>
              <a:t> </a:t>
            </a:r>
            <a:r>
              <a:rPr lang="es-PE" sz="1600" err="1"/>
              <a:t>style</a:t>
            </a:r>
            <a:endParaRPr lang="es-PE" sz="1600"/>
          </a:p>
        </p:txBody>
      </p:sp>
    </p:spTree>
    <p:extLst>
      <p:ext uri="{BB962C8B-B14F-4D97-AF65-F5344CB8AC3E}">
        <p14:creationId xmlns:p14="http://schemas.microsoft.com/office/powerpoint/2010/main" val="37236198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521180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7C797C-09E0-4702-B415-DC7ECB3101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5985" y="997226"/>
            <a:ext cx="6626016" cy="4876745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rtl="0" eaLnBrk="1"/>
            <a:endParaRPr lang="es-PE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0" eaLnBrk="0" hangingPunct="1">
              <a:defRPr/>
            </a:pPr>
            <a:endParaRPr lang="es-PE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0" hangingPunct="1">
              <a:defRPr/>
            </a:pPr>
            <a:r>
              <a:rPr lang="es-PE" sz="1428" baseline="0" noProof="0" err="1">
                <a:solidFill>
                  <a:schemeClr val="accent4"/>
                </a:solidFill>
                <a:latin typeface="+mn-lt"/>
              </a:rPr>
              <a:t>Document</a:t>
            </a:r>
            <a:r>
              <a:rPr lang="es-PE" sz="1428" baseline="0" noProof="0">
                <a:solidFill>
                  <a:schemeClr val="accent4"/>
                </a:solidFill>
                <a:latin typeface="+mn-lt"/>
              </a:rPr>
              <a:t> </a:t>
            </a:r>
            <a:r>
              <a:rPr lang="es-PE" sz="1428" baseline="0" noProof="0" err="1">
                <a:solidFill>
                  <a:schemeClr val="accent4"/>
                </a:solidFill>
                <a:latin typeface="+mn-lt"/>
              </a:rPr>
              <a:t>type</a:t>
            </a:r>
            <a:r>
              <a:rPr lang="es-PE" sz="1428" baseline="0" noProof="0">
                <a:solidFill>
                  <a:schemeClr val="accent4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rtl="0" eaLnBrk="0" hangingPunct="0"/>
            <a:r>
              <a:rPr lang="es-PE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rtl="0" eaLnBrk="0" hangingPunct="0"/>
            <a:r>
              <a:rPr lang="es-PE" sz="816" baseline="0" err="1">
                <a:solidFill>
                  <a:schemeClr val="bg1"/>
                </a:solidFill>
                <a:latin typeface="+mn-lt"/>
              </a:rPr>
              <a:t>An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use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th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aterial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without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pecific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ermission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cKinsey &amp; Company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trictl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rohibited</a:t>
            </a:r>
            <a:endParaRPr lang="es-P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4A0DA11-94E0-4542-8DAA-020EDC8AC6C9}"/>
              </a:ext>
            </a:extLst>
          </p:cNvPr>
          <p:cNvSpPr>
            <a:spLocks/>
          </p:cNvSpPr>
          <p:nvPr/>
        </p:nvSpPr>
        <p:spPr>
          <a:xfrm>
            <a:off x="5810982" y="5521367"/>
            <a:ext cx="2874851" cy="1336633"/>
          </a:xfrm>
          <a:custGeom>
            <a:avLst/>
            <a:gdLst>
              <a:gd name="connsiteX0" fmla="*/ 0 w 2817579"/>
              <a:gd name="connsiteY0" fmla="*/ 0 h 1310024"/>
              <a:gd name="connsiteX1" fmla="*/ 2354400 w 2817579"/>
              <a:gd name="connsiteY1" fmla="*/ 0 h 1310024"/>
              <a:gd name="connsiteX2" fmla="*/ 2358072 w 2817579"/>
              <a:gd name="connsiteY2" fmla="*/ 0 h 1310024"/>
              <a:gd name="connsiteX3" fmla="*/ 2358072 w 2817579"/>
              <a:gd name="connsiteY3" fmla="*/ 10386 h 1310024"/>
              <a:gd name="connsiteX4" fmla="*/ 2817579 w 2817579"/>
              <a:gd name="connsiteY4" fmla="*/ 1310024 h 1310024"/>
              <a:gd name="connsiteX5" fmla="*/ 459508 w 2817579"/>
              <a:gd name="connsiteY5" fmla="*/ 1310024 h 1310024"/>
              <a:gd name="connsiteX6" fmla="*/ 0 w 2817579"/>
              <a:gd name="connsiteY6" fmla="*/ 10386 h 1310024"/>
              <a:gd name="connsiteX7" fmla="*/ 0 w 2817579"/>
              <a:gd name="connsiteY7" fmla="*/ 0 h 1310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17579" h="1310024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2817579" y="1310024"/>
                </a:lnTo>
                <a:lnTo>
                  <a:pt x="459508" y="1310024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rtl="0" eaLnBrk="1"/>
            <a:endParaRPr lang="es-PE" sz="1837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 sz="3265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 rtl="0">
              <a:defRPr sz="1428" cap="all" baseline="0">
                <a:solidFill>
                  <a:schemeClr val="accent4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sub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562C820-CEB3-4AFD-B479-ED0141E3E705}"/>
              </a:ext>
            </a:extLst>
          </p:cNvPr>
          <p:cNvCxnSpPr>
            <a:cxnSpLocks/>
            <a:stCxn id="117" idx="0"/>
            <a:endCxn id="117" idx="3"/>
          </p:cNvCxnSpPr>
          <p:nvPr/>
        </p:nvCxnSpPr>
        <p:spPr>
          <a:xfrm>
            <a:off x="3853923" y="754087"/>
            <a:ext cx="433423" cy="11824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FAA0926-482B-4801-9155-BC0A4B20820A}"/>
              </a:ext>
            </a:extLst>
          </p:cNvPr>
          <p:cNvCxnSpPr>
            <a:cxnSpLocks/>
            <a:endCxn id="117" idx="3"/>
          </p:cNvCxnSpPr>
          <p:nvPr/>
        </p:nvCxnSpPr>
        <p:spPr>
          <a:xfrm flipH="1">
            <a:off x="4287346" y="1936526"/>
            <a:ext cx="441077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2929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489992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15C8C78C-7F33-4A6B-87A1-75A5656AD06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639396" y="1240193"/>
            <a:ext cx="6552605" cy="4368338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rtl="0" eaLnBrk="1"/>
            <a:endParaRPr lang="es-PE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0" eaLnBrk="0" hangingPunct="1">
              <a:defRPr/>
            </a:pPr>
            <a:endParaRPr lang="es-PE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rtl="0" eaLnBrk="0" hangingPunct="0"/>
            <a:r>
              <a:rPr lang="es-PE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rtl="0" eaLnBrk="0" hangingPunct="0"/>
            <a:r>
              <a:rPr lang="es-PE" sz="816" baseline="0" err="1">
                <a:solidFill>
                  <a:schemeClr val="bg1"/>
                </a:solidFill>
                <a:latin typeface="+mn-lt"/>
              </a:rPr>
              <a:t>An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use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th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aterial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without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pecific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ermission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cKinsey &amp; Company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trictl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rohibited</a:t>
            </a:r>
            <a:endParaRPr lang="es-P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 rtl="0"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sub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rtl="0" eaLnBrk="1"/>
            <a:endParaRPr lang="es-PE" sz="1837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1C1D061B-23AF-46A0-9322-57E283404A7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27845" y="0"/>
            <a:ext cx="2349744" cy="575048"/>
          </a:xfrm>
          <a:custGeom>
            <a:avLst/>
            <a:gdLst>
              <a:gd name="connsiteX0" fmla="*/ 0 w 2302933"/>
              <a:gd name="connsiteY0" fmla="*/ 0 h 563600"/>
              <a:gd name="connsiteX1" fmla="*/ 2103664 w 2302933"/>
              <a:gd name="connsiteY1" fmla="*/ 0 h 563600"/>
              <a:gd name="connsiteX2" fmla="*/ 2302933 w 2302933"/>
              <a:gd name="connsiteY2" fmla="*/ 563600 h 563600"/>
              <a:gd name="connsiteX3" fmla="*/ 199269 w 2302933"/>
              <a:gd name="connsiteY3" fmla="*/ 563600 h 563600"/>
              <a:gd name="connsiteX4" fmla="*/ 0 w 2302933"/>
              <a:gd name="connsiteY4" fmla="*/ 0 h 5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2933" h="563600">
                <a:moveTo>
                  <a:pt x="0" y="0"/>
                </a:moveTo>
                <a:lnTo>
                  <a:pt x="2103664" y="0"/>
                </a:lnTo>
                <a:lnTo>
                  <a:pt x="2302933" y="563600"/>
                </a:lnTo>
                <a:lnTo>
                  <a:pt x="199269" y="563600"/>
                </a:lnTo>
                <a:lnTo>
                  <a:pt x="0" y="0"/>
                </a:lnTo>
                <a:close/>
              </a:path>
            </a:pathLst>
          </a:custGeom>
        </p:spPr>
      </p:pic>
      <p:grpSp>
        <p:nvGrpSpPr>
          <p:cNvPr id="29" name="LogoImage">
            <a:extLst>
              <a:ext uri="{FF2B5EF4-FFF2-40B4-BE49-F238E27FC236}">
                <a16:creationId xmlns:a16="http://schemas.microsoft.com/office/drawing/2014/main" id="{F854849A-57E5-497F-BE9B-A6CC7E47D7E7}"/>
              </a:ext>
            </a:extLst>
          </p:cNvPr>
          <p:cNvGrpSpPr/>
          <p:nvPr userDrawn="1"/>
        </p:nvGrpSpPr>
        <p:grpSpPr>
          <a:xfrm>
            <a:off x="3726338" y="5666487"/>
            <a:ext cx="3085436" cy="981221"/>
            <a:chOff x="3029003" y="258214"/>
            <a:chExt cx="1706951" cy="542847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A18BFC72-CE2B-41C8-9785-985E3BD50FE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029003" y="258214"/>
              <a:ext cx="1706951" cy="5428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rtl="0"/>
              <a:endParaRPr lang="es-PE" sz="1632">
                <a:latin typeface="Theinhardt Pan Light" panose="020B0404020101020102" pitchFamily="34" charset="0"/>
              </a:endParaRPr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78E3880A-715E-4390-B929-7CFBF8E728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29003" y="258443"/>
              <a:ext cx="1706951" cy="542618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rtl="0"/>
              <a:endParaRPr lang="es-PE" sz="1632">
                <a:latin typeface="Theinhardt Pan Light" panose="020B0404020101020102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69643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853931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954" name="Picture 546" descr="https://www.bcp.com.bo/Content/images/Otros/imagen001.jpg">
            <a:extLst>
              <a:ext uri="{FF2B5EF4-FFF2-40B4-BE49-F238E27FC236}">
                <a16:creationId xmlns:a16="http://schemas.microsoft.com/office/drawing/2014/main" id="{3EA97854-121E-4682-AC9F-6396B15824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09560" y="984027"/>
            <a:ext cx="7782440" cy="48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rtl="0" eaLnBrk="1"/>
            <a:endParaRPr lang="es-PE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0" eaLnBrk="0" hangingPunct="1">
              <a:defRPr/>
            </a:pPr>
            <a:endParaRPr lang="es-PE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0" hangingPunct="1">
              <a:defRPr/>
            </a:pPr>
            <a:r>
              <a:rPr lang="es-PE" sz="1428" baseline="0" noProof="0" err="1">
                <a:solidFill>
                  <a:schemeClr val="bg1"/>
                </a:solidFill>
                <a:latin typeface="+mn-lt"/>
              </a:rPr>
              <a:t>Document</a:t>
            </a:r>
            <a:r>
              <a:rPr lang="es-PE" sz="1428" baseline="0" noProof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1428" baseline="0" noProof="0" err="1">
                <a:solidFill>
                  <a:schemeClr val="bg1"/>
                </a:solidFill>
                <a:latin typeface="+mn-lt"/>
              </a:rPr>
              <a:t>type</a:t>
            </a:r>
            <a:r>
              <a:rPr lang="es-PE" sz="1428" baseline="0" noProof="0">
                <a:solidFill>
                  <a:schemeClr val="bg1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rtl="0" eaLnBrk="0" hangingPunct="0"/>
            <a:r>
              <a:rPr lang="es-PE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rtl="0" eaLnBrk="0" hangingPunct="0"/>
            <a:r>
              <a:rPr lang="es-PE" sz="816" baseline="0" err="1">
                <a:solidFill>
                  <a:schemeClr val="bg1"/>
                </a:solidFill>
                <a:latin typeface="+mn-lt"/>
              </a:rPr>
              <a:t>An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use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th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aterial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without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pecific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ermission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McKinsey &amp; Company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is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strictly</a:t>
            </a:r>
            <a:r>
              <a:rPr lang="es-PE" sz="816" baseline="0">
                <a:solidFill>
                  <a:schemeClr val="bg1"/>
                </a:solidFill>
                <a:latin typeface="+mn-lt"/>
              </a:rPr>
              <a:t> </a:t>
            </a:r>
            <a:r>
              <a:rPr lang="es-PE" sz="816" baseline="0" err="1">
                <a:solidFill>
                  <a:schemeClr val="bg1"/>
                </a:solidFill>
                <a:latin typeface="+mn-lt"/>
              </a:rPr>
              <a:t>prohibited</a:t>
            </a:r>
            <a:endParaRPr lang="es-P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68F6781-56A0-43F1-A5CE-A7A1FA08FECD}"/>
              </a:ext>
            </a:extLst>
          </p:cNvPr>
          <p:cNvSpPr>
            <a:spLocks/>
          </p:cNvSpPr>
          <p:nvPr/>
        </p:nvSpPr>
        <p:spPr>
          <a:xfrm>
            <a:off x="5549497" y="4721190"/>
            <a:ext cx="3157771" cy="2136809"/>
          </a:xfrm>
          <a:custGeom>
            <a:avLst/>
            <a:gdLst>
              <a:gd name="connsiteX0" fmla="*/ 0 w 3094862"/>
              <a:gd name="connsiteY0" fmla="*/ 0 h 2094271"/>
              <a:gd name="connsiteX1" fmla="*/ 2354400 w 3094862"/>
              <a:gd name="connsiteY1" fmla="*/ 0 h 2094271"/>
              <a:gd name="connsiteX2" fmla="*/ 2358072 w 3094862"/>
              <a:gd name="connsiteY2" fmla="*/ 0 h 2094271"/>
              <a:gd name="connsiteX3" fmla="*/ 2358072 w 3094862"/>
              <a:gd name="connsiteY3" fmla="*/ 10386 h 2094271"/>
              <a:gd name="connsiteX4" fmla="*/ 3094862 w 3094862"/>
              <a:gd name="connsiteY4" fmla="*/ 2094271 h 2094271"/>
              <a:gd name="connsiteX5" fmla="*/ 736790 w 3094862"/>
              <a:gd name="connsiteY5" fmla="*/ 2094271 h 2094271"/>
              <a:gd name="connsiteX6" fmla="*/ 0 w 3094862"/>
              <a:gd name="connsiteY6" fmla="*/ 10386 h 2094271"/>
              <a:gd name="connsiteX7" fmla="*/ 0 w 3094862"/>
              <a:gd name="connsiteY7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94862" h="2094271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3094862" y="2094271"/>
                </a:lnTo>
                <a:lnTo>
                  <a:pt x="736790" y="2094271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rtl="0" eaLnBrk="1"/>
            <a:endParaRPr lang="es-PE" sz="1837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 rtl="0"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PE" noProof="0" err="1"/>
              <a:t>Click</a:t>
            </a:r>
            <a:r>
              <a:rPr lang="es-PE" noProof="0"/>
              <a:t> </a:t>
            </a:r>
            <a:r>
              <a:rPr lang="es-PE" noProof="0" err="1"/>
              <a:t>to</a:t>
            </a:r>
            <a:r>
              <a:rPr lang="es-PE" noProof="0"/>
              <a:t> </a:t>
            </a:r>
            <a:r>
              <a:rPr lang="es-PE" noProof="0" err="1"/>
              <a:t>edit</a:t>
            </a:r>
            <a:r>
              <a:rPr lang="es-PE" noProof="0"/>
              <a:t> Master </a:t>
            </a:r>
            <a:r>
              <a:rPr lang="es-PE" noProof="0" err="1"/>
              <a:t>subtitle</a:t>
            </a:r>
            <a:r>
              <a:rPr lang="es-PE" noProof="0"/>
              <a:t> </a:t>
            </a:r>
            <a:r>
              <a:rPr lang="es-PE" noProof="0" err="1"/>
              <a:t>style</a:t>
            </a:r>
            <a:endParaRPr lang="es-PE" noProof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</p:spTree>
    <p:extLst>
      <p:ext uri="{BB962C8B-B14F-4D97-AF65-F5344CB8AC3E}">
        <p14:creationId xmlns:p14="http://schemas.microsoft.com/office/powerpoint/2010/main" val="11898822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890873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rtl="0" eaLnBrk="1"/>
            <a:endParaRPr lang="es-P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19188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53756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4849" y="1"/>
            <a:ext cx="10287152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2F09DA5-2894-4EC1-9C90-665D9D6A5B9E}"/>
              </a:ext>
            </a:extLst>
          </p:cNvPr>
          <p:cNvSpPr>
            <a:spLocks/>
          </p:cNvSpPr>
          <p:nvPr/>
        </p:nvSpPr>
        <p:spPr>
          <a:xfrm>
            <a:off x="1" y="-1"/>
            <a:ext cx="12192000" cy="6858000"/>
          </a:xfrm>
          <a:prstGeom prst="rect">
            <a:avLst/>
          </a:prstGeom>
          <a:solidFill>
            <a:srgbClr val="F39D1D">
              <a:alpha val="6705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1A62CCF-F230-4083-B80D-8EFF998D4248}"/>
              </a:ext>
            </a:extLst>
          </p:cNvPr>
          <p:cNvSpPr>
            <a:spLocks/>
          </p:cNvSpPr>
          <p:nvPr userDrawn="1"/>
        </p:nvSpPr>
        <p:spPr>
          <a:xfrm>
            <a:off x="1" y="1"/>
            <a:ext cx="9111058" cy="6858000"/>
          </a:xfrm>
          <a:custGeom>
            <a:avLst/>
            <a:gdLst>
              <a:gd name="connsiteX0" fmla="*/ 0 w 8929549"/>
              <a:gd name="connsiteY0" fmla="*/ 0 h 6721475"/>
              <a:gd name="connsiteX1" fmla="*/ 1797646 w 8929549"/>
              <a:gd name="connsiteY1" fmla="*/ 0 h 6721475"/>
              <a:gd name="connsiteX2" fmla="*/ 1888573 w 8929549"/>
              <a:gd name="connsiteY2" fmla="*/ 0 h 6721475"/>
              <a:gd name="connsiteX3" fmla="*/ 2866850 w 8929549"/>
              <a:gd name="connsiteY3" fmla="*/ 0 h 6721475"/>
              <a:gd name="connsiteX4" fmla="*/ 2870522 w 8929549"/>
              <a:gd name="connsiteY4" fmla="*/ 0 h 6721475"/>
              <a:gd name="connsiteX5" fmla="*/ 3686219 w 8929549"/>
              <a:gd name="connsiteY5" fmla="*/ 0 h 6721475"/>
              <a:gd name="connsiteX6" fmla="*/ 4664496 w 8929549"/>
              <a:gd name="connsiteY6" fmla="*/ 0 h 6721475"/>
              <a:gd name="connsiteX7" fmla="*/ 4668168 w 8929549"/>
              <a:gd name="connsiteY7" fmla="*/ 0 h 6721475"/>
              <a:gd name="connsiteX8" fmla="*/ 4755423 w 8929549"/>
              <a:gd name="connsiteY8" fmla="*/ 0 h 6721475"/>
              <a:gd name="connsiteX9" fmla="*/ 4759095 w 8929549"/>
              <a:gd name="connsiteY9" fmla="*/ 0 h 6721475"/>
              <a:gd name="connsiteX10" fmla="*/ 6553069 w 8929549"/>
              <a:gd name="connsiteY10" fmla="*/ 0 h 6721475"/>
              <a:gd name="connsiteX11" fmla="*/ 6556741 w 8929549"/>
              <a:gd name="connsiteY11" fmla="*/ 0 h 6721475"/>
              <a:gd name="connsiteX12" fmla="*/ 6556741 w 8929549"/>
              <a:gd name="connsiteY12" fmla="*/ 10386 h 6721475"/>
              <a:gd name="connsiteX13" fmla="*/ 8929549 w 8929549"/>
              <a:gd name="connsiteY13" fmla="*/ 6721475 h 6721475"/>
              <a:gd name="connsiteX14" fmla="*/ 7131903 w 8929549"/>
              <a:gd name="connsiteY14" fmla="*/ 6721475 h 6721475"/>
              <a:gd name="connsiteX15" fmla="*/ 7040976 w 8929549"/>
              <a:gd name="connsiteY15" fmla="*/ 6721475 h 6721475"/>
              <a:gd name="connsiteX16" fmla="*/ 5243330 w 8929549"/>
              <a:gd name="connsiteY16" fmla="*/ 6721475 h 6721475"/>
              <a:gd name="connsiteX17" fmla="*/ 3686219 w 8929549"/>
              <a:gd name="connsiteY17" fmla="*/ 6721475 h 6721475"/>
              <a:gd name="connsiteX18" fmla="*/ 1888573 w 8929549"/>
              <a:gd name="connsiteY18" fmla="*/ 6721475 h 6721475"/>
              <a:gd name="connsiteX19" fmla="*/ 1797646 w 8929549"/>
              <a:gd name="connsiteY19" fmla="*/ 6721475 h 6721475"/>
              <a:gd name="connsiteX20" fmla="*/ 0 w 8929549"/>
              <a:gd name="connsiteY2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929549" h="6721475">
                <a:moveTo>
                  <a:pt x="0" y="0"/>
                </a:moveTo>
                <a:lnTo>
                  <a:pt x="1797646" y="0"/>
                </a:ln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3686219" y="0"/>
                </a:lnTo>
                <a:lnTo>
                  <a:pt x="4664496" y="0"/>
                </a:lnTo>
                <a:lnTo>
                  <a:pt x="4668168" y="0"/>
                </a:lnTo>
                <a:lnTo>
                  <a:pt x="4755423" y="0"/>
                </a:lnTo>
                <a:lnTo>
                  <a:pt x="4759095" y="0"/>
                </a:lnTo>
                <a:lnTo>
                  <a:pt x="6553069" y="0"/>
                </a:lnTo>
                <a:lnTo>
                  <a:pt x="6556741" y="0"/>
                </a:lnTo>
                <a:lnTo>
                  <a:pt x="6556741" y="10386"/>
                </a:lnTo>
                <a:lnTo>
                  <a:pt x="8929549" y="6721475"/>
                </a:lnTo>
                <a:lnTo>
                  <a:pt x="7131903" y="6721475"/>
                </a:lnTo>
                <a:lnTo>
                  <a:pt x="7040976" y="6721475"/>
                </a:lnTo>
                <a:lnTo>
                  <a:pt x="5243330" y="6721475"/>
                </a:lnTo>
                <a:lnTo>
                  <a:pt x="3686219" y="6721475"/>
                </a:lnTo>
                <a:lnTo>
                  <a:pt x="1888573" y="6721475"/>
                </a:lnTo>
                <a:lnTo>
                  <a:pt x="1797646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rtl="0" eaLnBrk="1"/>
            <a:endParaRPr lang="es-P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5B3C1C9-164C-45D0-AE40-099216F858A4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28438"/>
            <a:ext cx="184346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rtl="0"/>
            <a:fld id="{42C328C1-A84F-4A39-A664-DBA00541A8C6}" type="slidenum">
              <a:rPr lang="es-PE" sz="816" smtClean="0">
                <a:solidFill>
                  <a:schemeClr val="bg1"/>
                </a:solidFill>
              </a:rPr>
              <a:pPr lvl="0" rtl="0"/>
              <a:t>‹Nº›</a:t>
            </a:fld>
            <a:endParaRPr lang="es-PE" sz="816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A091C01-859B-4D5E-A46D-7F6F795C667F}"/>
              </a:ext>
            </a:extLst>
          </p:cNvPr>
          <p:cNvGrpSpPr/>
          <p:nvPr/>
        </p:nvGrpSpPr>
        <p:grpSpPr>
          <a:xfrm>
            <a:off x="10829030" y="6608570"/>
            <a:ext cx="618531" cy="165283"/>
            <a:chOff x="4797041" y="952089"/>
            <a:chExt cx="2281238" cy="609599"/>
          </a:xfrm>
          <a:solidFill>
            <a:schemeClr val="bg1"/>
          </a:solidFill>
        </p:grpSpPr>
        <p:sp>
          <p:nvSpPr>
            <p:cNvPr id="14" name="Freeform 538">
              <a:extLst>
                <a:ext uri="{FF2B5EF4-FFF2-40B4-BE49-F238E27FC236}">
                  <a16:creationId xmlns:a16="http://schemas.microsoft.com/office/drawing/2014/main" id="{1EEA9E48-40F1-4821-856D-CFC901698D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5" name="Freeform 539">
              <a:extLst>
                <a:ext uri="{FF2B5EF4-FFF2-40B4-BE49-F238E27FC236}">
                  <a16:creationId xmlns:a16="http://schemas.microsoft.com/office/drawing/2014/main" id="{1BC14002-6AC7-43A0-B8FC-6FDAA1EF5D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6" name="Freeform 540">
              <a:extLst>
                <a:ext uri="{FF2B5EF4-FFF2-40B4-BE49-F238E27FC236}">
                  <a16:creationId xmlns:a16="http://schemas.microsoft.com/office/drawing/2014/main" id="{CE175A35-FD80-4EAC-B7C8-A2B57FC263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7" name="Freeform 541">
              <a:extLst>
                <a:ext uri="{FF2B5EF4-FFF2-40B4-BE49-F238E27FC236}">
                  <a16:creationId xmlns:a16="http://schemas.microsoft.com/office/drawing/2014/main" id="{6AD157DA-7E3C-4887-BCF8-2390422DB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8" name="Freeform 542">
              <a:extLst>
                <a:ext uri="{FF2B5EF4-FFF2-40B4-BE49-F238E27FC236}">
                  <a16:creationId xmlns:a16="http://schemas.microsoft.com/office/drawing/2014/main" id="{0AC7FD69-DF48-4BE9-830A-FAECD1F40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19" name="Freeform 543">
              <a:extLst>
                <a:ext uri="{FF2B5EF4-FFF2-40B4-BE49-F238E27FC236}">
                  <a16:creationId xmlns:a16="http://schemas.microsoft.com/office/drawing/2014/main" id="{C3320177-C075-41D2-8D4D-084DB9CC0E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20" name="Freeform 544">
              <a:extLst>
                <a:ext uri="{FF2B5EF4-FFF2-40B4-BE49-F238E27FC236}">
                  <a16:creationId xmlns:a16="http://schemas.microsoft.com/office/drawing/2014/main" id="{9965B84C-9390-47C0-9D84-BE84FD66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B2E4C0F-B532-4C36-8D02-51D33DE6C75D}"/>
              </a:ext>
            </a:extLst>
          </p:cNvPr>
          <p:cNvCxnSpPr>
            <a:cxnSpLocks/>
          </p:cNvCxnSpPr>
          <p:nvPr/>
        </p:nvCxnSpPr>
        <p:spPr>
          <a:xfrm>
            <a:off x="11495662" y="6560370"/>
            <a:ext cx="105233" cy="29763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3CCCC03-A808-48EC-A7E1-59D7CD8E471A}"/>
              </a:ext>
            </a:extLst>
          </p:cNvPr>
          <p:cNvCxnSpPr>
            <a:cxnSpLocks/>
          </p:cNvCxnSpPr>
          <p:nvPr/>
        </p:nvCxnSpPr>
        <p:spPr>
          <a:xfrm>
            <a:off x="11495662" y="6560370"/>
            <a:ext cx="3351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743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002781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PE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3939" y="1"/>
            <a:ext cx="7838062" cy="68580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AA7070E-4118-4494-BAD2-8DBA04DB9A84}"/>
              </a:ext>
            </a:extLst>
          </p:cNvPr>
          <p:cNvSpPr>
            <a:spLocks/>
          </p:cNvSpPr>
          <p:nvPr/>
        </p:nvSpPr>
        <p:spPr>
          <a:xfrm>
            <a:off x="0" y="1"/>
            <a:ext cx="6840595" cy="6858000"/>
          </a:xfrm>
          <a:custGeom>
            <a:avLst/>
            <a:gdLst>
              <a:gd name="connsiteX0" fmla="*/ 0 w 6704318"/>
              <a:gd name="connsiteY0" fmla="*/ 0 h 6721475"/>
              <a:gd name="connsiteX1" fmla="*/ 641619 w 6704318"/>
              <a:gd name="connsiteY1" fmla="*/ 0 h 6721475"/>
              <a:gd name="connsiteX2" fmla="*/ 645291 w 6704318"/>
              <a:gd name="connsiteY2" fmla="*/ 0 h 6721475"/>
              <a:gd name="connsiteX3" fmla="*/ 1460988 w 6704318"/>
              <a:gd name="connsiteY3" fmla="*/ 0 h 6721475"/>
              <a:gd name="connsiteX4" fmla="*/ 2439265 w 6704318"/>
              <a:gd name="connsiteY4" fmla="*/ 0 h 6721475"/>
              <a:gd name="connsiteX5" fmla="*/ 2442937 w 6704318"/>
              <a:gd name="connsiteY5" fmla="*/ 0 h 6721475"/>
              <a:gd name="connsiteX6" fmla="*/ 2530192 w 6704318"/>
              <a:gd name="connsiteY6" fmla="*/ 0 h 6721475"/>
              <a:gd name="connsiteX7" fmla="*/ 2533864 w 6704318"/>
              <a:gd name="connsiteY7" fmla="*/ 0 h 6721475"/>
              <a:gd name="connsiteX8" fmla="*/ 4327838 w 6704318"/>
              <a:gd name="connsiteY8" fmla="*/ 0 h 6721475"/>
              <a:gd name="connsiteX9" fmla="*/ 4331510 w 6704318"/>
              <a:gd name="connsiteY9" fmla="*/ 0 h 6721475"/>
              <a:gd name="connsiteX10" fmla="*/ 4331510 w 6704318"/>
              <a:gd name="connsiteY10" fmla="*/ 10386 h 6721475"/>
              <a:gd name="connsiteX11" fmla="*/ 6704318 w 6704318"/>
              <a:gd name="connsiteY11" fmla="*/ 6721475 h 6721475"/>
              <a:gd name="connsiteX12" fmla="*/ 4906672 w 6704318"/>
              <a:gd name="connsiteY12" fmla="*/ 6721475 h 6721475"/>
              <a:gd name="connsiteX13" fmla="*/ 4815745 w 6704318"/>
              <a:gd name="connsiteY13" fmla="*/ 6721475 h 6721475"/>
              <a:gd name="connsiteX14" fmla="*/ 3018099 w 6704318"/>
              <a:gd name="connsiteY14" fmla="*/ 6721475 h 6721475"/>
              <a:gd name="connsiteX15" fmla="*/ 1460988 w 6704318"/>
              <a:gd name="connsiteY15" fmla="*/ 6721475 h 6721475"/>
              <a:gd name="connsiteX16" fmla="*/ 0 w 6704318"/>
              <a:gd name="connsiteY16" fmla="*/ 6721475 h 6721475"/>
              <a:gd name="connsiteX17" fmla="*/ 0 w 6704318"/>
              <a:gd name="connsiteY17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04318" h="6721475">
                <a:moveTo>
                  <a:pt x="0" y="0"/>
                </a:moveTo>
                <a:lnTo>
                  <a:pt x="641619" y="0"/>
                </a:lnTo>
                <a:lnTo>
                  <a:pt x="645291" y="0"/>
                </a:lnTo>
                <a:lnTo>
                  <a:pt x="1460988" y="0"/>
                </a:lnTo>
                <a:lnTo>
                  <a:pt x="2439265" y="0"/>
                </a:lnTo>
                <a:lnTo>
                  <a:pt x="2442937" y="0"/>
                </a:lnTo>
                <a:lnTo>
                  <a:pt x="2530192" y="0"/>
                </a:lnTo>
                <a:lnTo>
                  <a:pt x="2533864" y="0"/>
                </a:lnTo>
                <a:lnTo>
                  <a:pt x="4327838" y="0"/>
                </a:lnTo>
                <a:lnTo>
                  <a:pt x="4331510" y="0"/>
                </a:lnTo>
                <a:lnTo>
                  <a:pt x="4331510" y="10386"/>
                </a:lnTo>
                <a:lnTo>
                  <a:pt x="6704318" y="6721475"/>
                </a:lnTo>
                <a:lnTo>
                  <a:pt x="4906672" y="6721475"/>
                </a:lnTo>
                <a:lnTo>
                  <a:pt x="4815745" y="6721475"/>
                </a:lnTo>
                <a:lnTo>
                  <a:pt x="3018099" y="6721475"/>
                </a:lnTo>
                <a:lnTo>
                  <a:pt x="1460988" y="6721475"/>
                </a:lnTo>
                <a:lnTo>
                  <a:pt x="0" y="672147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rtl="0" eaLnBrk="1"/>
            <a:endParaRPr lang="es-P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9B9250-2837-42B9-9997-131808FF9503}"/>
              </a:ext>
            </a:extLst>
          </p:cNvPr>
          <p:cNvGrpSpPr/>
          <p:nvPr/>
        </p:nvGrpSpPr>
        <p:grpSpPr>
          <a:xfrm>
            <a:off x="832779" y="2903658"/>
            <a:ext cx="3931927" cy="1050685"/>
            <a:chOff x="4797041" y="952089"/>
            <a:chExt cx="2281238" cy="609599"/>
          </a:xfrm>
        </p:grpSpPr>
        <p:sp>
          <p:nvSpPr>
            <p:cNvPr id="26" name="Freeform 538">
              <a:extLst>
                <a:ext uri="{FF2B5EF4-FFF2-40B4-BE49-F238E27FC236}">
                  <a16:creationId xmlns:a16="http://schemas.microsoft.com/office/drawing/2014/main" id="{B867A878-913F-47AE-A151-F55FDEC1EA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27" name="Freeform 539">
              <a:extLst>
                <a:ext uri="{FF2B5EF4-FFF2-40B4-BE49-F238E27FC236}">
                  <a16:creationId xmlns:a16="http://schemas.microsoft.com/office/drawing/2014/main" id="{3DC3CB76-26C6-4631-8C62-ABD7B3B492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28" name="Freeform 540">
              <a:extLst>
                <a:ext uri="{FF2B5EF4-FFF2-40B4-BE49-F238E27FC236}">
                  <a16:creationId xmlns:a16="http://schemas.microsoft.com/office/drawing/2014/main" id="{5675BF14-7787-4D15-A2C4-5109E68B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29" name="Freeform 541">
              <a:extLst>
                <a:ext uri="{FF2B5EF4-FFF2-40B4-BE49-F238E27FC236}">
                  <a16:creationId xmlns:a16="http://schemas.microsoft.com/office/drawing/2014/main" id="{549D4A3B-82C1-4AB5-ABB1-FF74D0CBC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30" name="Freeform 542">
              <a:extLst>
                <a:ext uri="{FF2B5EF4-FFF2-40B4-BE49-F238E27FC236}">
                  <a16:creationId xmlns:a16="http://schemas.microsoft.com/office/drawing/2014/main" id="{F4D1B063-2152-4213-ADC9-D6DC3545B7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31" name="Freeform 543">
              <a:extLst>
                <a:ext uri="{FF2B5EF4-FFF2-40B4-BE49-F238E27FC236}">
                  <a16:creationId xmlns:a16="http://schemas.microsoft.com/office/drawing/2014/main" id="{4C30F9F3-CAD7-45C3-83CF-A1E156B006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32" name="Freeform 544">
              <a:extLst>
                <a:ext uri="{FF2B5EF4-FFF2-40B4-BE49-F238E27FC236}">
                  <a16:creationId xmlns:a16="http://schemas.microsoft.com/office/drawing/2014/main" id="{CAFE6CEB-1DB4-4EAF-9377-14E5BA42C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</p:spTree>
    <p:extLst>
      <p:ext uri="{BB962C8B-B14F-4D97-AF65-F5344CB8AC3E}">
        <p14:creationId xmlns:p14="http://schemas.microsoft.com/office/powerpoint/2010/main" val="1487112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3AF7B21-9942-476F-B1D9-19DCD666DC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942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480" imgH="481" progId="TCLayout.ActiveDocument.1">
                  <p:embed/>
                </p:oleObj>
              </mc:Choice>
              <mc:Fallback>
                <p:oleObj name="Diapositiva de think-cell" r:id="rId7" imgW="480" imgH="481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3AF7B21-9942-476F-B1D9-19DCD666DC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PE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PE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894B01F2-0F20-4749-9B38-DFD772EED8DC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s-PE" err="1"/>
              <a:t>Chapter</a:t>
            </a:r>
            <a:r>
              <a:rPr lang="es-PE"/>
              <a:t> › </a:t>
            </a:r>
            <a:r>
              <a:rPr lang="es-PE" err="1"/>
              <a:t>Topic</a:t>
            </a:r>
            <a:endParaRPr lang="es-PE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7A51059-AF5B-44C9-972A-04EB79BED86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s-PE" sz="900" err="1"/>
              <a:t>Source</a:t>
            </a:r>
            <a:r>
              <a:rPr lang="es-PE" sz="90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435169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9D2F65B-4DB5-4770-A7E4-1482FEF78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829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480" imgH="481" progId="TCLayout.ActiveDocument.1">
                  <p:embed/>
                </p:oleObj>
              </mc:Choice>
              <mc:Fallback>
                <p:oleObj name="Diapositiva de think-cell" r:id="rId15" imgW="480" imgH="48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9D2F65B-4DB5-4770-A7E4-1482FEF78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3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s-PE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PE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PE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2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2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8173371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 rtl="0">
              <a:defRPr lang="en-US" sz="800" dirty="0"/>
            </a:lvl1pPr>
          </a:lstStyle>
          <a:p>
            <a:pPr lvl="0" algn="r"/>
            <a:r>
              <a:rPr lang="es-PE" err="1"/>
              <a:t>Chapter</a:t>
            </a:r>
            <a:r>
              <a:rPr lang="es-PE"/>
              <a:t> › </a:t>
            </a:r>
            <a:r>
              <a:rPr lang="es-PE" err="1"/>
              <a:t>Topic</a:t>
            </a:r>
            <a:endParaRPr lang="es-PE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A430C8A-E3B1-4D61-BEBE-3203872E20E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7" y="6501670"/>
            <a:ext cx="7275576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s-PE" sz="900" err="1"/>
              <a:t>Source</a:t>
            </a:r>
            <a:r>
              <a:rPr lang="es-PE" sz="90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2074050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122C15CC-DD71-4586-9B5B-C9128E59F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2766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480" imgH="481" progId="TCLayout.ActiveDocument.1">
                  <p:embed/>
                </p:oleObj>
              </mc:Choice>
              <mc:Fallback>
                <p:oleObj name="Diapositiva de think-cell" r:id="rId8" imgW="480" imgH="481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122C15CC-DD71-4586-9B5B-C9128E59F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7" y="172213"/>
            <a:ext cx="110825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54737" y="915504"/>
            <a:ext cx="11082528" cy="246221"/>
          </a:xfrm>
        </p:spPr>
        <p:txBody>
          <a:bodyPr wrap="square" anchor="b">
            <a:spAutoFit/>
          </a:bodyPr>
          <a:lstStyle>
            <a:lvl1pPr marL="0" indent="0" algn="l" rtl="0">
              <a:buNone/>
              <a:defRPr sz="16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BECE6BCA-B393-4492-91E9-DA14BD6787F1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s-PE" err="1"/>
              <a:t>Chapter</a:t>
            </a:r>
            <a:r>
              <a:rPr lang="es-PE"/>
              <a:t> › </a:t>
            </a:r>
            <a:r>
              <a:rPr lang="es-PE" err="1"/>
              <a:t>Topic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PE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PE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224189E-EF1A-4089-81EC-A18BAC8894F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s-PE" sz="900" err="1"/>
              <a:t>Source</a:t>
            </a:r>
            <a:r>
              <a:rPr lang="es-PE" sz="90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521926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5B3C1C9-164C-45D0-AE40-099216F858A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52053" y="6627163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Nº›</a:t>
            </a:fld>
            <a:endParaRPr lang="en-US" sz="816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A091C01-859B-4D5E-A46D-7F6F795C667F}"/>
              </a:ext>
            </a:extLst>
          </p:cNvPr>
          <p:cNvGrpSpPr/>
          <p:nvPr userDrawn="1"/>
        </p:nvGrpSpPr>
        <p:grpSpPr>
          <a:xfrm>
            <a:off x="10829030" y="6608570"/>
            <a:ext cx="618531" cy="165283"/>
            <a:chOff x="4797041" y="952089"/>
            <a:chExt cx="2281238" cy="609599"/>
          </a:xfrm>
          <a:solidFill>
            <a:schemeClr val="bg1"/>
          </a:solidFill>
        </p:grpSpPr>
        <p:sp>
          <p:nvSpPr>
            <p:cNvPr id="14" name="Freeform 538">
              <a:extLst>
                <a:ext uri="{FF2B5EF4-FFF2-40B4-BE49-F238E27FC236}">
                  <a16:creationId xmlns:a16="http://schemas.microsoft.com/office/drawing/2014/main" id="{1EEA9E48-40F1-4821-856D-CFC901698D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15" name="Freeform 539">
              <a:extLst>
                <a:ext uri="{FF2B5EF4-FFF2-40B4-BE49-F238E27FC236}">
                  <a16:creationId xmlns:a16="http://schemas.microsoft.com/office/drawing/2014/main" id="{1BC14002-6AC7-43A0-B8FC-6FDAA1EF5D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16" name="Freeform 540">
              <a:extLst>
                <a:ext uri="{FF2B5EF4-FFF2-40B4-BE49-F238E27FC236}">
                  <a16:creationId xmlns:a16="http://schemas.microsoft.com/office/drawing/2014/main" id="{CE175A35-FD80-4EAC-B7C8-A2B57FC263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17" name="Freeform 541">
              <a:extLst>
                <a:ext uri="{FF2B5EF4-FFF2-40B4-BE49-F238E27FC236}">
                  <a16:creationId xmlns:a16="http://schemas.microsoft.com/office/drawing/2014/main" id="{6AD157DA-7E3C-4887-BCF8-2390422DB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18" name="Freeform 542">
              <a:extLst>
                <a:ext uri="{FF2B5EF4-FFF2-40B4-BE49-F238E27FC236}">
                  <a16:creationId xmlns:a16="http://schemas.microsoft.com/office/drawing/2014/main" id="{0AC7FD69-DF48-4BE9-830A-FAECD1F40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19" name="Freeform 543">
              <a:extLst>
                <a:ext uri="{FF2B5EF4-FFF2-40B4-BE49-F238E27FC236}">
                  <a16:creationId xmlns:a16="http://schemas.microsoft.com/office/drawing/2014/main" id="{C3320177-C075-41D2-8D4D-084DB9CC0E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20" name="Freeform 544">
              <a:extLst>
                <a:ext uri="{FF2B5EF4-FFF2-40B4-BE49-F238E27FC236}">
                  <a16:creationId xmlns:a16="http://schemas.microsoft.com/office/drawing/2014/main" id="{9965B84C-9390-47C0-9D84-BE84FD66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B2E4C0F-B532-4C36-8D02-51D33DE6C75D}"/>
              </a:ext>
            </a:extLst>
          </p:cNvPr>
          <p:cNvCxnSpPr>
            <a:cxnSpLocks/>
          </p:cNvCxnSpPr>
          <p:nvPr userDrawn="1"/>
        </p:nvCxnSpPr>
        <p:spPr>
          <a:xfrm>
            <a:off x="11495662" y="6560370"/>
            <a:ext cx="105233" cy="29763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3CCCC03-A808-48EC-A7E1-59D7CD8E471A}"/>
              </a:ext>
            </a:extLst>
          </p:cNvPr>
          <p:cNvCxnSpPr>
            <a:cxnSpLocks/>
          </p:cNvCxnSpPr>
          <p:nvPr userDrawn="1"/>
        </p:nvCxnSpPr>
        <p:spPr>
          <a:xfrm>
            <a:off x="11495662" y="6560370"/>
            <a:ext cx="3351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D0878D9-AF89-42B7-B2AE-2BD4EBCEACE6}"/>
              </a:ext>
            </a:extLst>
          </p:cNvPr>
          <p:cNvSpPr/>
          <p:nvPr userDrawn="1"/>
        </p:nvSpPr>
        <p:spPr>
          <a:xfrm>
            <a:off x="6958798" y="1"/>
            <a:ext cx="5233204" cy="6858000"/>
          </a:xfrm>
          <a:custGeom>
            <a:avLst/>
            <a:gdLst>
              <a:gd name="connsiteX0" fmla="*/ 0 w 5128949"/>
              <a:gd name="connsiteY0" fmla="*/ 0 h 6721475"/>
              <a:gd name="connsiteX1" fmla="*/ 5128949 w 5128949"/>
              <a:gd name="connsiteY1" fmla="*/ 0 h 6721475"/>
              <a:gd name="connsiteX2" fmla="*/ 5128949 w 5128949"/>
              <a:gd name="connsiteY2" fmla="*/ 6721475 h 6721475"/>
              <a:gd name="connsiteX3" fmla="*/ 1680369 w 5128949"/>
              <a:gd name="connsiteY3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8949" h="6721475">
                <a:moveTo>
                  <a:pt x="0" y="0"/>
                </a:moveTo>
                <a:lnTo>
                  <a:pt x="5128949" y="0"/>
                </a:lnTo>
                <a:lnTo>
                  <a:pt x="5128949" y="6721475"/>
                </a:lnTo>
                <a:lnTo>
                  <a:pt x="1680369" y="6721475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5A9512AA-A957-4E8D-A5AF-15DB96A0106C}"/>
              </a:ext>
            </a:extLst>
          </p:cNvPr>
          <p:cNvSpPr/>
          <p:nvPr userDrawn="1"/>
        </p:nvSpPr>
        <p:spPr>
          <a:xfrm>
            <a:off x="6835694" y="0"/>
            <a:ext cx="1414404" cy="4891609"/>
          </a:xfrm>
          <a:custGeom>
            <a:avLst/>
            <a:gdLst>
              <a:gd name="connsiteX0" fmla="*/ 0 w 1386226"/>
              <a:gd name="connsiteY0" fmla="*/ 0 h 4794230"/>
              <a:gd name="connsiteX1" fmla="*/ 199397 w 1386226"/>
              <a:gd name="connsiteY1" fmla="*/ 0 h 4794230"/>
              <a:gd name="connsiteX2" fmla="*/ 1386226 w 1386226"/>
              <a:gd name="connsiteY2" fmla="*/ 4747313 h 4794230"/>
              <a:gd name="connsiteX3" fmla="*/ 1198558 w 1386226"/>
              <a:gd name="connsiteY3" fmla="*/ 4794230 h 4794230"/>
              <a:gd name="connsiteX4" fmla="*/ 0 w 1386226"/>
              <a:gd name="connsiteY4" fmla="*/ 0 h 4794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6226" h="4794230">
                <a:moveTo>
                  <a:pt x="0" y="0"/>
                </a:moveTo>
                <a:lnTo>
                  <a:pt x="199397" y="0"/>
                </a:lnTo>
                <a:lnTo>
                  <a:pt x="1386226" y="4747313"/>
                </a:lnTo>
                <a:lnTo>
                  <a:pt x="1198558" y="47942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F8987151-B686-4946-8481-EB1B3544EE05}"/>
              </a:ext>
            </a:extLst>
          </p:cNvPr>
          <p:cNvSpPr/>
          <p:nvPr userDrawn="1"/>
        </p:nvSpPr>
        <p:spPr>
          <a:xfrm>
            <a:off x="6668465" y="2"/>
            <a:ext cx="984417" cy="3574759"/>
          </a:xfrm>
          <a:custGeom>
            <a:avLst/>
            <a:gdLst>
              <a:gd name="connsiteX0" fmla="*/ 0 w 964806"/>
              <a:gd name="connsiteY0" fmla="*/ 0 h 3503595"/>
              <a:gd name="connsiteX1" fmla="*/ 88907 w 964806"/>
              <a:gd name="connsiteY1" fmla="*/ 0 h 3503595"/>
              <a:gd name="connsiteX2" fmla="*/ 964806 w 964806"/>
              <a:gd name="connsiteY2" fmla="*/ 3503595 h 3503595"/>
              <a:gd name="connsiteX3" fmla="*/ 875899 w 964806"/>
              <a:gd name="connsiteY3" fmla="*/ 3503595 h 3503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4806" h="3503595">
                <a:moveTo>
                  <a:pt x="0" y="0"/>
                </a:moveTo>
                <a:lnTo>
                  <a:pt x="88907" y="0"/>
                </a:lnTo>
                <a:lnTo>
                  <a:pt x="964806" y="3503595"/>
                </a:lnTo>
                <a:lnTo>
                  <a:pt x="875899" y="350359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195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805E1DA-4069-47D0-B491-4A6C76425B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560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80" imgH="481" progId="TCLayout.ActiveDocument.1">
                  <p:embed/>
                </p:oleObj>
              </mc:Choice>
              <mc:Fallback>
                <p:oleObj name="Diapositiva de think-cell" r:id="rId3" imgW="480" imgH="48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805E1DA-4069-47D0-B491-4A6C76425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9350BFF-AC2A-4A78-9C8B-1F586F89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576923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49B486C-CC28-4F9B-AA9E-938CFB0B6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79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480" imgH="481" progId="TCLayout.ActiveDocument.1">
                  <p:embed/>
                </p:oleObj>
              </mc:Choice>
              <mc:Fallback>
                <p:oleObj name="Diapositiva de think-cell" r:id="rId8" imgW="480" imgH="48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49B486C-CC28-4F9B-AA9E-938CFB0B6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PE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PE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 rtl="0">
              <a:defRPr lang="en-US" sz="800" dirty="0"/>
            </a:lvl1pPr>
          </a:lstStyle>
          <a:p>
            <a:pPr lvl="0" algn="r"/>
            <a:r>
              <a:rPr lang="es-PE" err="1"/>
              <a:t>Chapter</a:t>
            </a:r>
            <a:r>
              <a:rPr lang="es-PE"/>
              <a:t> › </a:t>
            </a:r>
            <a:r>
              <a:rPr lang="es-PE" err="1"/>
              <a:t>Topic</a:t>
            </a:r>
            <a:endParaRPr lang="es-PE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0D9B58F-A7E9-4361-8B4D-4CC0A4886EF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s-PE" sz="900" err="1"/>
              <a:t>Source</a:t>
            </a:r>
            <a:r>
              <a:rPr lang="es-PE" sz="90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6300569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7C797C-09E0-4702-B415-DC7ECB3101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5985" y="997227"/>
            <a:ext cx="6626016" cy="4876745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1" y="2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81" y="469228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722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21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339" baseline="0" noProof="0">
                <a:solidFill>
                  <a:schemeClr val="accent4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5" y="3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4A0DA11-94E0-4542-8DAA-020EDC8AC6C9}"/>
              </a:ext>
            </a:extLst>
          </p:cNvPr>
          <p:cNvSpPr>
            <a:spLocks/>
          </p:cNvSpPr>
          <p:nvPr/>
        </p:nvSpPr>
        <p:spPr>
          <a:xfrm>
            <a:off x="5810984" y="5521368"/>
            <a:ext cx="2874851" cy="1336633"/>
          </a:xfrm>
          <a:custGeom>
            <a:avLst/>
            <a:gdLst>
              <a:gd name="connsiteX0" fmla="*/ 0 w 2817579"/>
              <a:gd name="connsiteY0" fmla="*/ 0 h 1310024"/>
              <a:gd name="connsiteX1" fmla="*/ 2354400 w 2817579"/>
              <a:gd name="connsiteY1" fmla="*/ 0 h 1310024"/>
              <a:gd name="connsiteX2" fmla="*/ 2358072 w 2817579"/>
              <a:gd name="connsiteY2" fmla="*/ 0 h 1310024"/>
              <a:gd name="connsiteX3" fmla="*/ 2358072 w 2817579"/>
              <a:gd name="connsiteY3" fmla="*/ 10386 h 1310024"/>
              <a:gd name="connsiteX4" fmla="*/ 2817579 w 2817579"/>
              <a:gd name="connsiteY4" fmla="*/ 1310024 h 1310024"/>
              <a:gd name="connsiteX5" fmla="*/ 459508 w 2817579"/>
              <a:gd name="connsiteY5" fmla="*/ 1310024 h 1310024"/>
              <a:gd name="connsiteX6" fmla="*/ 0 w 2817579"/>
              <a:gd name="connsiteY6" fmla="*/ 10386 h 1310024"/>
              <a:gd name="connsiteX7" fmla="*/ 0 w 2817579"/>
              <a:gd name="connsiteY7" fmla="*/ 0 h 1310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17579" h="1310024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2817579" y="1310024"/>
                </a:lnTo>
                <a:lnTo>
                  <a:pt x="459508" y="1310024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8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722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060" b="1" baseline="0">
                <a:solidFill>
                  <a:schemeClr val="accent4"/>
                </a:solidFill>
                <a:latin typeface="Flexo" pitchFamily="50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5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39" cap="all" baseline="0">
                <a:solidFill>
                  <a:schemeClr val="accent4"/>
                </a:solidFill>
                <a:latin typeface="Flexo" pitchFamily="50" charset="0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3" y="922325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562C820-CEB3-4AFD-B479-ED0141E3E705}"/>
              </a:ext>
            </a:extLst>
          </p:cNvPr>
          <p:cNvCxnSpPr>
            <a:cxnSpLocks/>
            <a:stCxn id="117" idx="0"/>
            <a:endCxn id="117" idx="3"/>
          </p:cNvCxnSpPr>
          <p:nvPr/>
        </p:nvCxnSpPr>
        <p:spPr>
          <a:xfrm>
            <a:off x="3853924" y="754088"/>
            <a:ext cx="433423" cy="11824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FAA0926-482B-4801-9155-BC0A4B20820A}"/>
              </a:ext>
            </a:extLst>
          </p:cNvPr>
          <p:cNvCxnSpPr>
            <a:cxnSpLocks/>
            <a:endCxn id="117" idx="3"/>
          </p:cNvCxnSpPr>
          <p:nvPr/>
        </p:nvCxnSpPr>
        <p:spPr>
          <a:xfrm flipH="1">
            <a:off x="4287347" y="1936526"/>
            <a:ext cx="441077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7310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15C8C78C-7F33-4A6B-87A1-75A5656AD06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639398" y="1240193"/>
            <a:ext cx="6552605" cy="4368338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1" y="2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81" y="469228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722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21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5" y="3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060" b="1" baseline="0">
                <a:solidFill>
                  <a:schemeClr val="bg1"/>
                </a:solidFill>
                <a:latin typeface="Flexo" pitchFamily="50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5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39" cap="all" baseline="0">
                <a:solidFill>
                  <a:schemeClr val="bg1"/>
                </a:solidFill>
                <a:latin typeface="Flexo" pitchFamily="50" charset="0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8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722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3" y="922325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1C1D061B-23AF-46A0-9322-57E283404A7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27846" y="0"/>
            <a:ext cx="2349744" cy="575048"/>
          </a:xfrm>
          <a:custGeom>
            <a:avLst/>
            <a:gdLst>
              <a:gd name="connsiteX0" fmla="*/ 0 w 2302933"/>
              <a:gd name="connsiteY0" fmla="*/ 0 h 563600"/>
              <a:gd name="connsiteX1" fmla="*/ 2103664 w 2302933"/>
              <a:gd name="connsiteY1" fmla="*/ 0 h 563600"/>
              <a:gd name="connsiteX2" fmla="*/ 2302933 w 2302933"/>
              <a:gd name="connsiteY2" fmla="*/ 563600 h 563600"/>
              <a:gd name="connsiteX3" fmla="*/ 199269 w 2302933"/>
              <a:gd name="connsiteY3" fmla="*/ 563600 h 563600"/>
              <a:gd name="connsiteX4" fmla="*/ 0 w 2302933"/>
              <a:gd name="connsiteY4" fmla="*/ 0 h 5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2933" h="563600">
                <a:moveTo>
                  <a:pt x="0" y="0"/>
                </a:moveTo>
                <a:lnTo>
                  <a:pt x="2103664" y="0"/>
                </a:lnTo>
                <a:lnTo>
                  <a:pt x="2302933" y="563600"/>
                </a:lnTo>
                <a:lnTo>
                  <a:pt x="199269" y="563600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90067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954" name="Picture 546" descr="https://www.bcp.com.bo/Content/images/Otros/imagen001.jpg">
            <a:extLst>
              <a:ext uri="{FF2B5EF4-FFF2-40B4-BE49-F238E27FC236}">
                <a16:creationId xmlns:a16="http://schemas.microsoft.com/office/drawing/2014/main" id="{3EA97854-121E-4682-AC9F-6396B15824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09560" y="984027"/>
            <a:ext cx="7782440" cy="48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1" y="2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81" y="469228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722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21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339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5" y="3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68F6781-56A0-43F1-A5CE-A7A1FA08FECD}"/>
              </a:ext>
            </a:extLst>
          </p:cNvPr>
          <p:cNvSpPr>
            <a:spLocks/>
          </p:cNvSpPr>
          <p:nvPr/>
        </p:nvSpPr>
        <p:spPr>
          <a:xfrm>
            <a:off x="5549498" y="4721192"/>
            <a:ext cx="3157771" cy="2136809"/>
          </a:xfrm>
          <a:custGeom>
            <a:avLst/>
            <a:gdLst>
              <a:gd name="connsiteX0" fmla="*/ 0 w 3094862"/>
              <a:gd name="connsiteY0" fmla="*/ 0 h 2094271"/>
              <a:gd name="connsiteX1" fmla="*/ 2354400 w 3094862"/>
              <a:gd name="connsiteY1" fmla="*/ 0 h 2094271"/>
              <a:gd name="connsiteX2" fmla="*/ 2358072 w 3094862"/>
              <a:gd name="connsiteY2" fmla="*/ 0 h 2094271"/>
              <a:gd name="connsiteX3" fmla="*/ 2358072 w 3094862"/>
              <a:gd name="connsiteY3" fmla="*/ 10386 h 2094271"/>
              <a:gd name="connsiteX4" fmla="*/ 3094862 w 3094862"/>
              <a:gd name="connsiteY4" fmla="*/ 2094271 h 2094271"/>
              <a:gd name="connsiteX5" fmla="*/ 736790 w 3094862"/>
              <a:gd name="connsiteY5" fmla="*/ 2094271 h 2094271"/>
              <a:gd name="connsiteX6" fmla="*/ 0 w 3094862"/>
              <a:gd name="connsiteY6" fmla="*/ 10386 h 2094271"/>
              <a:gd name="connsiteX7" fmla="*/ 0 w 3094862"/>
              <a:gd name="connsiteY7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94862" h="2094271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3094862" y="2094271"/>
                </a:lnTo>
                <a:lnTo>
                  <a:pt x="736790" y="2094271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8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722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060" b="1" baseline="0">
                <a:solidFill>
                  <a:schemeClr val="bg1"/>
                </a:solidFill>
                <a:latin typeface="Flexo" pitchFamily="50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5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39" cap="all" baseline="0">
                <a:solidFill>
                  <a:schemeClr val="bg1"/>
                </a:solidFill>
                <a:latin typeface="Flexo" pitchFamily="50" charset="0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3" y="922325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</p:spTree>
    <p:extLst>
      <p:ext uri="{BB962C8B-B14F-4D97-AF65-F5344CB8AC3E}">
        <p14:creationId xmlns:p14="http://schemas.microsoft.com/office/powerpoint/2010/main" val="36922658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111F63E0-C3ED-4626-A183-910710DDBB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4387" r="28987" b="1"/>
          <a:stretch/>
        </p:blipFill>
        <p:spPr>
          <a:xfrm>
            <a:off x="5798982" y="2776"/>
            <a:ext cx="6399329" cy="6859406"/>
          </a:xfrm>
          <a:custGeom>
            <a:avLst/>
            <a:gdLst>
              <a:gd name="connsiteX0" fmla="*/ 0 w 5997632"/>
              <a:gd name="connsiteY0" fmla="*/ 0 h 6858000"/>
              <a:gd name="connsiteX1" fmla="*/ 5997632 w 5997632"/>
              <a:gd name="connsiteY1" fmla="*/ 0 h 6858000"/>
              <a:gd name="connsiteX2" fmla="*/ 5997632 w 5997632"/>
              <a:gd name="connsiteY2" fmla="*/ 6858000 h 6858000"/>
              <a:gd name="connsiteX3" fmla="*/ 3178693 w 599763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7632" h="6858000">
                <a:moveTo>
                  <a:pt x="0" y="0"/>
                </a:moveTo>
                <a:lnTo>
                  <a:pt x="5997632" y="0"/>
                </a:lnTo>
                <a:lnTo>
                  <a:pt x="5997632" y="6858000"/>
                </a:lnTo>
                <a:lnTo>
                  <a:pt x="3178693" y="6858000"/>
                </a:lnTo>
                <a:close/>
              </a:path>
            </a:pathLst>
          </a:cu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A55B3B4F-571A-4996-B9F5-C7B90D1D3C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1422" r="2266" b="1"/>
          <a:stretch/>
        </p:blipFill>
        <p:spPr>
          <a:xfrm>
            <a:off x="-121396" y="3242"/>
            <a:ext cx="9751997" cy="6857983"/>
          </a:xfrm>
          <a:custGeom>
            <a:avLst/>
            <a:gdLst>
              <a:gd name="connsiteX0" fmla="*/ 0 w 9141744"/>
              <a:gd name="connsiteY0" fmla="*/ 0 h 6863485"/>
              <a:gd name="connsiteX1" fmla="*/ 5963051 w 9141744"/>
              <a:gd name="connsiteY1" fmla="*/ 0 h 6863485"/>
              <a:gd name="connsiteX2" fmla="*/ 9141744 w 9141744"/>
              <a:gd name="connsiteY2" fmla="*/ 6863485 h 6863485"/>
              <a:gd name="connsiteX3" fmla="*/ 0 w 9141744"/>
              <a:gd name="connsiteY3" fmla="*/ 6863485 h 6863485"/>
              <a:gd name="connsiteX4" fmla="*/ 0 w 9141744"/>
              <a:gd name="connsiteY4" fmla="*/ 0 h 6863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1744" h="6863485">
                <a:moveTo>
                  <a:pt x="0" y="0"/>
                </a:moveTo>
                <a:lnTo>
                  <a:pt x="5963051" y="0"/>
                </a:lnTo>
                <a:lnTo>
                  <a:pt x="9141744" y="6863485"/>
                </a:lnTo>
                <a:lnTo>
                  <a:pt x="0" y="6863485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23" name="Freeform: Shape 9">
            <a:extLst>
              <a:ext uri="{FF2B5EF4-FFF2-40B4-BE49-F238E27FC236}">
                <a16:creationId xmlns:a16="http://schemas.microsoft.com/office/drawing/2014/main" id="{871990D3-4140-430A-8870-910C1CB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596129"/>
            <a:ext cx="6176619" cy="2978655"/>
          </a:xfrm>
          <a:custGeom>
            <a:avLst/>
            <a:gdLst>
              <a:gd name="connsiteX0" fmla="*/ 0 w 6434783"/>
              <a:gd name="connsiteY0" fmla="*/ 0 h 3310306"/>
              <a:gd name="connsiteX1" fmla="*/ 3829872 w 6434783"/>
              <a:gd name="connsiteY1" fmla="*/ 0 h 3310306"/>
              <a:gd name="connsiteX2" fmla="*/ 4896100 w 6434783"/>
              <a:gd name="connsiteY2" fmla="*/ 0 h 3310306"/>
              <a:gd name="connsiteX3" fmla="*/ 4901677 w 6434783"/>
              <a:gd name="connsiteY3" fmla="*/ 0 h 3310306"/>
              <a:gd name="connsiteX4" fmla="*/ 6434783 w 6434783"/>
              <a:gd name="connsiteY4" fmla="*/ 3310306 h 3310306"/>
              <a:gd name="connsiteX5" fmla="*/ 0 w 6434783"/>
              <a:gd name="connsiteY5" fmla="*/ 3310306 h 3310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34783" h="3310306">
                <a:moveTo>
                  <a:pt x="0" y="0"/>
                </a:moveTo>
                <a:lnTo>
                  <a:pt x="3829872" y="0"/>
                </a:lnTo>
                <a:lnTo>
                  <a:pt x="4896100" y="0"/>
                </a:lnTo>
                <a:lnTo>
                  <a:pt x="4901677" y="0"/>
                </a:lnTo>
                <a:lnTo>
                  <a:pt x="6434783" y="3310306"/>
                </a:lnTo>
                <a:lnTo>
                  <a:pt x="0" y="3310306"/>
                </a:lnTo>
                <a:close/>
              </a:path>
            </a:pathLst>
          </a:custGeom>
          <a:solidFill>
            <a:sysClr val="windowText" lastClr="000000">
              <a:lumMod val="85000"/>
              <a:lumOff val="15000"/>
              <a:alpha val="88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2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itle">
            <a:extLst>
              <a:ext uri="{FF2B5EF4-FFF2-40B4-BE49-F238E27FC236}">
                <a16:creationId xmlns:a16="http://schemas.microsoft.com/office/drawing/2014/main" id="{1E49D242-2AEB-4720-8E5A-FCF227CE55D6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gray">
          <a:xfrm>
            <a:off x="300338" y="214061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060" b="1" baseline="0">
                <a:solidFill>
                  <a:schemeClr val="bg1"/>
                </a:solidFill>
                <a:latin typeface="Flexo" pitchFamily="50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36" name="Subtitle">
            <a:extLst>
              <a:ext uri="{FF2B5EF4-FFF2-40B4-BE49-F238E27FC236}">
                <a16:creationId xmlns:a16="http://schemas.microsoft.com/office/drawing/2014/main" id="{916AC5E0-7715-4E37-B482-17D2D5E9804F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0338" y="3681805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39" cap="all" baseline="0">
                <a:solidFill>
                  <a:schemeClr val="bg1"/>
                </a:solidFill>
                <a:latin typeface="Flexo" pitchFamily="50" charset="0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19" name="Freeform: Shape 32">
            <a:extLst>
              <a:ext uri="{FF2B5EF4-FFF2-40B4-BE49-F238E27FC236}">
                <a16:creationId xmlns:a16="http://schemas.microsoft.com/office/drawing/2014/main" id="{8AF02F00-1CF1-48B5-A06B-B6C76384C90C}"/>
              </a:ext>
            </a:extLst>
          </p:cNvPr>
          <p:cNvSpPr>
            <a:spLocks/>
          </p:cNvSpPr>
          <p:nvPr userDrawn="1"/>
        </p:nvSpPr>
        <p:spPr>
          <a:xfrm>
            <a:off x="3904675" y="4213"/>
            <a:ext cx="3058632" cy="1437428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alpha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0" name="Freeform: Shape 116">
            <a:extLst>
              <a:ext uri="{FF2B5EF4-FFF2-40B4-BE49-F238E27FC236}">
                <a16:creationId xmlns:a16="http://schemas.microsoft.com/office/drawing/2014/main" id="{DBD45118-AD42-421A-8BFE-C9B603FC0AEA}"/>
              </a:ext>
            </a:extLst>
          </p:cNvPr>
          <p:cNvSpPr>
            <a:spLocks/>
          </p:cNvSpPr>
          <p:nvPr userDrawn="1"/>
        </p:nvSpPr>
        <p:spPr bwMode="auto">
          <a:xfrm>
            <a:off x="3883370" y="76179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196"/>
            </a:srgbClr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722"/>
          </a:p>
        </p:txBody>
      </p:sp>
      <p:grpSp>
        <p:nvGrpSpPr>
          <p:cNvPr id="11" name="Group 68">
            <a:extLst>
              <a:ext uri="{FF2B5EF4-FFF2-40B4-BE49-F238E27FC236}">
                <a16:creationId xmlns:a16="http://schemas.microsoft.com/office/drawing/2014/main" id="{9C66B2A6-FDA8-49B6-AAD6-C64FD0BC438E}"/>
              </a:ext>
            </a:extLst>
          </p:cNvPr>
          <p:cNvGrpSpPr/>
          <p:nvPr userDrawn="1"/>
        </p:nvGrpSpPr>
        <p:grpSpPr>
          <a:xfrm>
            <a:off x="4754603" y="922325"/>
            <a:ext cx="3165816" cy="845966"/>
            <a:chOff x="4797041" y="952089"/>
            <a:chExt cx="2281238" cy="609599"/>
          </a:xfrm>
        </p:grpSpPr>
        <p:sp>
          <p:nvSpPr>
            <p:cNvPr id="12" name="Freeform 538">
              <a:extLst>
                <a:ext uri="{FF2B5EF4-FFF2-40B4-BE49-F238E27FC236}">
                  <a16:creationId xmlns:a16="http://schemas.microsoft.com/office/drawing/2014/main" id="{EA5BA95F-981E-4B27-98F3-9ABDF7321C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3" name="Freeform 539">
              <a:extLst>
                <a:ext uri="{FF2B5EF4-FFF2-40B4-BE49-F238E27FC236}">
                  <a16:creationId xmlns:a16="http://schemas.microsoft.com/office/drawing/2014/main" id="{B922CC32-C03D-4D8A-9EB4-D1639D693E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4" name="Freeform 540">
              <a:extLst>
                <a:ext uri="{FF2B5EF4-FFF2-40B4-BE49-F238E27FC236}">
                  <a16:creationId xmlns:a16="http://schemas.microsoft.com/office/drawing/2014/main" id="{1DB37E64-E7A5-468A-8649-4435FBB623C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5" name="Freeform 541">
              <a:extLst>
                <a:ext uri="{FF2B5EF4-FFF2-40B4-BE49-F238E27FC236}">
                  <a16:creationId xmlns:a16="http://schemas.microsoft.com/office/drawing/2014/main" id="{431D0D1A-BFA1-492D-A025-B569E427BF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6" name="Freeform 542">
              <a:extLst>
                <a:ext uri="{FF2B5EF4-FFF2-40B4-BE49-F238E27FC236}">
                  <a16:creationId xmlns:a16="http://schemas.microsoft.com/office/drawing/2014/main" id="{85F567BB-A4A9-490D-B128-07EE682C58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7" name="Freeform 543">
              <a:extLst>
                <a:ext uri="{FF2B5EF4-FFF2-40B4-BE49-F238E27FC236}">
                  <a16:creationId xmlns:a16="http://schemas.microsoft.com/office/drawing/2014/main" id="{A6894467-A009-480D-A91F-F6E392010E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8" name="Freeform 544">
              <a:extLst>
                <a:ext uri="{FF2B5EF4-FFF2-40B4-BE49-F238E27FC236}">
                  <a16:creationId xmlns:a16="http://schemas.microsoft.com/office/drawing/2014/main" id="{63435447-86B4-4B18-A0AB-AE2C4D3923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</p:spTree>
    <p:extLst>
      <p:ext uri="{BB962C8B-B14F-4D97-AF65-F5344CB8AC3E}">
        <p14:creationId xmlns:p14="http://schemas.microsoft.com/office/powerpoint/2010/main" val="2013551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111F63E0-C3ED-4626-A183-910710DDBB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4387" r="28987" b="1"/>
          <a:stretch/>
        </p:blipFill>
        <p:spPr>
          <a:xfrm>
            <a:off x="5798982" y="3241"/>
            <a:ext cx="6399329" cy="6850952"/>
          </a:xfrm>
          <a:custGeom>
            <a:avLst/>
            <a:gdLst>
              <a:gd name="connsiteX0" fmla="*/ 0 w 5997632"/>
              <a:gd name="connsiteY0" fmla="*/ 0 h 6858000"/>
              <a:gd name="connsiteX1" fmla="*/ 5997632 w 5997632"/>
              <a:gd name="connsiteY1" fmla="*/ 0 h 6858000"/>
              <a:gd name="connsiteX2" fmla="*/ 5997632 w 5997632"/>
              <a:gd name="connsiteY2" fmla="*/ 6858000 h 6858000"/>
              <a:gd name="connsiteX3" fmla="*/ 3178693 w 599763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7632" h="6858000">
                <a:moveTo>
                  <a:pt x="0" y="0"/>
                </a:moveTo>
                <a:lnTo>
                  <a:pt x="5997632" y="0"/>
                </a:lnTo>
                <a:lnTo>
                  <a:pt x="5997632" y="6858000"/>
                </a:lnTo>
                <a:lnTo>
                  <a:pt x="3178693" y="6858000"/>
                </a:lnTo>
                <a:close/>
              </a:path>
            </a:pathLst>
          </a:cu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A55B3B4F-571A-4996-B9F5-C7B90D1D3C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1422" r="2266" b="1"/>
          <a:stretch/>
        </p:blipFill>
        <p:spPr>
          <a:xfrm>
            <a:off x="-121396" y="3242"/>
            <a:ext cx="9751997" cy="6857983"/>
          </a:xfrm>
          <a:custGeom>
            <a:avLst/>
            <a:gdLst>
              <a:gd name="connsiteX0" fmla="*/ 0 w 9141744"/>
              <a:gd name="connsiteY0" fmla="*/ 0 h 6863485"/>
              <a:gd name="connsiteX1" fmla="*/ 5963051 w 9141744"/>
              <a:gd name="connsiteY1" fmla="*/ 0 h 6863485"/>
              <a:gd name="connsiteX2" fmla="*/ 9141744 w 9141744"/>
              <a:gd name="connsiteY2" fmla="*/ 6863485 h 6863485"/>
              <a:gd name="connsiteX3" fmla="*/ 0 w 9141744"/>
              <a:gd name="connsiteY3" fmla="*/ 6863485 h 6863485"/>
              <a:gd name="connsiteX4" fmla="*/ 0 w 9141744"/>
              <a:gd name="connsiteY4" fmla="*/ 0 h 6863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1744" h="6863485">
                <a:moveTo>
                  <a:pt x="0" y="0"/>
                </a:moveTo>
                <a:lnTo>
                  <a:pt x="5963051" y="0"/>
                </a:lnTo>
                <a:lnTo>
                  <a:pt x="9141744" y="6863485"/>
                </a:lnTo>
                <a:lnTo>
                  <a:pt x="0" y="6863485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889386A1-D0CF-4ABA-8886-2A20679101B9}"/>
              </a:ext>
            </a:extLst>
          </p:cNvPr>
          <p:cNvSpPr/>
          <p:nvPr userDrawn="1"/>
        </p:nvSpPr>
        <p:spPr>
          <a:xfrm>
            <a:off x="-127706" y="-7031"/>
            <a:ext cx="12319706" cy="6861224"/>
          </a:xfrm>
          <a:prstGeom prst="rect">
            <a:avLst/>
          </a:prstGeom>
          <a:solidFill>
            <a:schemeClr val="accent4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tx1"/>
              </a:solidFill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2D51FA6-3D17-4430-9B07-932470E9DC37}"/>
              </a:ext>
            </a:extLst>
          </p:cNvPr>
          <p:cNvSpPr/>
          <p:nvPr userDrawn="1"/>
        </p:nvSpPr>
        <p:spPr>
          <a:xfrm>
            <a:off x="-127706" y="-14062"/>
            <a:ext cx="12326017" cy="518292"/>
          </a:xfrm>
          <a:prstGeom prst="rect">
            <a:avLst/>
          </a:prstGeom>
          <a:solidFill>
            <a:srgbClr val="D9D9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9124AAF2-4F6C-44A6-B4D9-B51DB7E9383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997" y="40965"/>
            <a:ext cx="12022643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0" name="Group 71">
            <a:extLst>
              <a:ext uri="{FF2B5EF4-FFF2-40B4-BE49-F238E27FC236}">
                <a16:creationId xmlns:a16="http://schemas.microsoft.com/office/drawing/2014/main" id="{9D3D401E-693F-41D4-B427-8D2F91245DA5}"/>
              </a:ext>
            </a:extLst>
          </p:cNvPr>
          <p:cNvGrpSpPr/>
          <p:nvPr userDrawn="1"/>
        </p:nvGrpSpPr>
        <p:grpSpPr>
          <a:xfrm>
            <a:off x="11434731" y="104568"/>
            <a:ext cx="618531" cy="165283"/>
            <a:chOff x="4797041" y="952089"/>
            <a:chExt cx="2281238" cy="609599"/>
          </a:xfrm>
        </p:grpSpPr>
        <p:sp>
          <p:nvSpPr>
            <p:cNvPr id="11" name="Freeform 538">
              <a:extLst>
                <a:ext uri="{FF2B5EF4-FFF2-40B4-BE49-F238E27FC236}">
                  <a16:creationId xmlns:a16="http://schemas.microsoft.com/office/drawing/2014/main" id="{0EBAFDA4-C897-4F0D-BA83-81B8676BA5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2" name="Freeform 539">
              <a:extLst>
                <a:ext uri="{FF2B5EF4-FFF2-40B4-BE49-F238E27FC236}">
                  <a16:creationId xmlns:a16="http://schemas.microsoft.com/office/drawing/2014/main" id="{C07ECFF7-820C-434D-BE74-C98B725484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3" name="Freeform 540">
              <a:extLst>
                <a:ext uri="{FF2B5EF4-FFF2-40B4-BE49-F238E27FC236}">
                  <a16:creationId xmlns:a16="http://schemas.microsoft.com/office/drawing/2014/main" id="{F5EE7E7A-4686-4FC9-B758-0CFA57760D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4" name="Freeform 541">
              <a:extLst>
                <a:ext uri="{FF2B5EF4-FFF2-40B4-BE49-F238E27FC236}">
                  <a16:creationId xmlns:a16="http://schemas.microsoft.com/office/drawing/2014/main" id="{A3D21C22-9F03-46FA-892E-8474DDADA9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5" name="Freeform 542">
              <a:extLst>
                <a:ext uri="{FF2B5EF4-FFF2-40B4-BE49-F238E27FC236}">
                  <a16:creationId xmlns:a16="http://schemas.microsoft.com/office/drawing/2014/main" id="{3EA79938-F397-4831-A828-E66353E682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6" name="Freeform 543">
              <a:extLst>
                <a:ext uri="{FF2B5EF4-FFF2-40B4-BE49-F238E27FC236}">
                  <a16:creationId xmlns:a16="http://schemas.microsoft.com/office/drawing/2014/main" id="{04C634E3-238D-4491-BACC-981FAD6CFA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7" name="Freeform 544">
              <a:extLst>
                <a:ext uri="{FF2B5EF4-FFF2-40B4-BE49-F238E27FC236}">
                  <a16:creationId xmlns:a16="http://schemas.microsoft.com/office/drawing/2014/main" id="{35659E5E-AB6B-414B-8657-05FF5CEB67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</p:spTree>
    <p:extLst>
      <p:ext uri="{BB962C8B-B14F-4D97-AF65-F5344CB8AC3E}">
        <p14:creationId xmlns:p14="http://schemas.microsoft.com/office/powerpoint/2010/main" val="3218322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111F63E0-C3ED-4626-A183-910710DDBB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4387" r="28987" b="1"/>
          <a:stretch/>
        </p:blipFill>
        <p:spPr>
          <a:xfrm>
            <a:off x="5798982" y="3241"/>
            <a:ext cx="6399329" cy="6850952"/>
          </a:xfrm>
          <a:custGeom>
            <a:avLst/>
            <a:gdLst>
              <a:gd name="connsiteX0" fmla="*/ 0 w 5997632"/>
              <a:gd name="connsiteY0" fmla="*/ 0 h 6858000"/>
              <a:gd name="connsiteX1" fmla="*/ 5997632 w 5997632"/>
              <a:gd name="connsiteY1" fmla="*/ 0 h 6858000"/>
              <a:gd name="connsiteX2" fmla="*/ 5997632 w 5997632"/>
              <a:gd name="connsiteY2" fmla="*/ 6858000 h 6858000"/>
              <a:gd name="connsiteX3" fmla="*/ 3178693 w 599763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7632" h="6858000">
                <a:moveTo>
                  <a:pt x="0" y="0"/>
                </a:moveTo>
                <a:lnTo>
                  <a:pt x="5997632" y="0"/>
                </a:lnTo>
                <a:lnTo>
                  <a:pt x="5997632" y="6858000"/>
                </a:lnTo>
                <a:lnTo>
                  <a:pt x="3178693" y="6858000"/>
                </a:lnTo>
                <a:close/>
              </a:path>
            </a:pathLst>
          </a:cu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A55B3B4F-571A-4996-B9F5-C7B90D1D3C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1422" r="2266" b="1"/>
          <a:stretch/>
        </p:blipFill>
        <p:spPr>
          <a:xfrm>
            <a:off x="-121396" y="3242"/>
            <a:ext cx="9751997" cy="6857983"/>
          </a:xfrm>
          <a:custGeom>
            <a:avLst/>
            <a:gdLst>
              <a:gd name="connsiteX0" fmla="*/ 0 w 9141744"/>
              <a:gd name="connsiteY0" fmla="*/ 0 h 6863485"/>
              <a:gd name="connsiteX1" fmla="*/ 5963051 w 9141744"/>
              <a:gd name="connsiteY1" fmla="*/ 0 h 6863485"/>
              <a:gd name="connsiteX2" fmla="*/ 9141744 w 9141744"/>
              <a:gd name="connsiteY2" fmla="*/ 6863485 h 6863485"/>
              <a:gd name="connsiteX3" fmla="*/ 0 w 9141744"/>
              <a:gd name="connsiteY3" fmla="*/ 6863485 h 6863485"/>
              <a:gd name="connsiteX4" fmla="*/ 0 w 9141744"/>
              <a:gd name="connsiteY4" fmla="*/ 0 h 6863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1744" h="6863485">
                <a:moveTo>
                  <a:pt x="0" y="0"/>
                </a:moveTo>
                <a:lnTo>
                  <a:pt x="5963051" y="0"/>
                </a:lnTo>
                <a:lnTo>
                  <a:pt x="9141744" y="6863485"/>
                </a:lnTo>
                <a:lnTo>
                  <a:pt x="0" y="6863485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889386A1-D0CF-4ABA-8886-2A20679101B9}"/>
              </a:ext>
            </a:extLst>
          </p:cNvPr>
          <p:cNvSpPr/>
          <p:nvPr userDrawn="1"/>
        </p:nvSpPr>
        <p:spPr>
          <a:xfrm>
            <a:off x="-127706" y="-7031"/>
            <a:ext cx="12319706" cy="6861224"/>
          </a:xfrm>
          <a:prstGeom prst="rect">
            <a:avLst/>
          </a:prstGeom>
          <a:solidFill>
            <a:schemeClr val="accent4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384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79" y="101900"/>
            <a:ext cx="11860664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26304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Group 71">
            <a:extLst>
              <a:ext uri="{FF2B5EF4-FFF2-40B4-BE49-F238E27FC236}">
                <a16:creationId xmlns:a16="http://schemas.microsoft.com/office/drawing/2014/main" id="{592B7228-18A9-4CDA-BD17-1637EFDE0308}"/>
              </a:ext>
            </a:extLst>
          </p:cNvPr>
          <p:cNvGrpSpPr/>
          <p:nvPr userDrawn="1"/>
        </p:nvGrpSpPr>
        <p:grpSpPr>
          <a:xfrm>
            <a:off x="11434731" y="104568"/>
            <a:ext cx="618531" cy="165283"/>
            <a:chOff x="4797041" y="952089"/>
            <a:chExt cx="2281238" cy="609599"/>
          </a:xfrm>
        </p:grpSpPr>
        <p:sp>
          <p:nvSpPr>
            <p:cNvPr id="88" name="Freeform 538">
              <a:extLst>
                <a:ext uri="{FF2B5EF4-FFF2-40B4-BE49-F238E27FC236}">
                  <a16:creationId xmlns:a16="http://schemas.microsoft.com/office/drawing/2014/main" id="{78CF8D1D-94C3-492D-8688-FAF9AB6B76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89" name="Freeform 539">
              <a:extLst>
                <a:ext uri="{FF2B5EF4-FFF2-40B4-BE49-F238E27FC236}">
                  <a16:creationId xmlns:a16="http://schemas.microsoft.com/office/drawing/2014/main" id="{65AFFAEB-041F-4E3E-94CF-3741B86188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90" name="Freeform 540">
              <a:extLst>
                <a:ext uri="{FF2B5EF4-FFF2-40B4-BE49-F238E27FC236}">
                  <a16:creationId xmlns:a16="http://schemas.microsoft.com/office/drawing/2014/main" id="{3A7B83BC-4FC3-4B5A-B384-31016B5CCF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91" name="Freeform 541">
              <a:extLst>
                <a:ext uri="{FF2B5EF4-FFF2-40B4-BE49-F238E27FC236}">
                  <a16:creationId xmlns:a16="http://schemas.microsoft.com/office/drawing/2014/main" id="{16D6E3CD-6508-4880-BD94-30341E267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92" name="Freeform 542">
              <a:extLst>
                <a:ext uri="{FF2B5EF4-FFF2-40B4-BE49-F238E27FC236}">
                  <a16:creationId xmlns:a16="http://schemas.microsoft.com/office/drawing/2014/main" id="{546102F7-9BE7-4CDD-820F-99D51CCCA7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93" name="Freeform 543">
              <a:extLst>
                <a:ext uri="{FF2B5EF4-FFF2-40B4-BE49-F238E27FC236}">
                  <a16:creationId xmlns:a16="http://schemas.microsoft.com/office/drawing/2014/main" id="{4F3CF309-1B7D-4BCD-A4A5-867B9FD208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94" name="Freeform 544">
              <a:extLst>
                <a:ext uri="{FF2B5EF4-FFF2-40B4-BE49-F238E27FC236}">
                  <a16:creationId xmlns:a16="http://schemas.microsoft.com/office/drawing/2014/main" id="{D1851DD3-7559-44B9-A6A8-3B6D1457FE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70C9D11-DC05-4B52-8459-44195AD87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15" y="104568"/>
            <a:ext cx="11968747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6" name="Rectángulo 85">
            <a:extLst>
              <a:ext uri="{FF2B5EF4-FFF2-40B4-BE49-F238E27FC236}">
                <a16:creationId xmlns:a16="http://schemas.microsoft.com/office/drawing/2014/main" id="{0C724A66-5B9D-496A-AF5D-2C265463ED62}"/>
              </a:ext>
            </a:extLst>
          </p:cNvPr>
          <p:cNvSpPr/>
          <p:nvPr userDrawn="1"/>
        </p:nvSpPr>
        <p:spPr>
          <a:xfrm>
            <a:off x="8357" y="6462748"/>
            <a:ext cx="9225526" cy="301295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AA97A3-C0E7-4D83-B8E9-2B604E020E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26" imgH="526" progId="TCLayout.ActiveDocument.1">
                  <p:embed/>
                </p:oleObj>
              </mc:Choice>
              <mc:Fallback>
                <p:oleObj name="Diapositiva de think-cell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AA97A3-C0E7-4D83-B8E9-2B604E020E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7EA385-3644-4906-9E5C-2B86AFAE0C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C6F14818-F759-4AB3-91F0-98128260F283}"/>
              </a:ext>
            </a:extLst>
          </p:cNvPr>
          <p:cNvSpPr/>
          <p:nvPr userDrawn="1"/>
        </p:nvSpPr>
        <p:spPr>
          <a:xfrm>
            <a:off x="10918491" y="6664728"/>
            <a:ext cx="760225" cy="194359"/>
          </a:xfrm>
          <a:prstGeom prst="rect">
            <a:avLst/>
          </a:prstGeom>
          <a:solidFill>
            <a:srgbClr val="FFB502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81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</a:rPr>
              <a:t>15% - 30%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96F7EEA-86E5-4D74-B920-69F9F195CA42}"/>
              </a:ext>
            </a:extLst>
          </p:cNvPr>
          <p:cNvSpPr/>
          <p:nvPr userDrawn="1"/>
        </p:nvSpPr>
        <p:spPr>
          <a:xfrm>
            <a:off x="11673665" y="6664728"/>
            <a:ext cx="518335" cy="194359"/>
          </a:xfrm>
          <a:prstGeom prst="rect">
            <a:avLst/>
          </a:prstGeom>
          <a:solidFill>
            <a:srgbClr val="FF0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81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</a:rPr>
              <a:t>&gt;30%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50D74AA-BC92-46FC-A70F-F748AF2E9B12}"/>
              </a:ext>
            </a:extLst>
          </p:cNvPr>
          <p:cNvSpPr txBox="1"/>
          <p:nvPr userDrawn="1"/>
        </p:nvSpPr>
        <p:spPr>
          <a:xfrm>
            <a:off x="8928078" y="6647120"/>
            <a:ext cx="1567414" cy="23775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45" b="1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/>
                <a:cs typeface="Arial" panose="020B0604020202020204" pitchFamily="34" charset="0"/>
              </a:rPr>
              <a:t>Desviación en avance:</a:t>
            </a:r>
            <a:endParaRPr kumimoji="0" lang="es-PE" sz="1440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083DBEF4-3158-4BC8-92E1-ADF1E10DD2E0}"/>
              </a:ext>
            </a:extLst>
          </p:cNvPr>
          <p:cNvSpPr/>
          <p:nvPr userDrawn="1"/>
        </p:nvSpPr>
        <p:spPr>
          <a:xfrm>
            <a:off x="10405206" y="6664728"/>
            <a:ext cx="518335" cy="194359"/>
          </a:xfrm>
          <a:prstGeom prst="rect">
            <a:avLst/>
          </a:prstGeom>
          <a:solidFill>
            <a:srgbClr val="70AD47">
              <a:lumMod val="7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81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</a:rPr>
              <a:t>&lt;15% 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1CE78E5E-8D98-4B4F-A6C5-973747C038F6}"/>
              </a:ext>
            </a:extLst>
          </p:cNvPr>
          <p:cNvGrpSpPr/>
          <p:nvPr userDrawn="1"/>
        </p:nvGrpSpPr>
        <p:grpSpPr>
          <a:xfrm>
            <a:off x="4128374" y="6608613"/>
            <a:ext cx="3895672" cy="230832"/>
            <a:chOff x="3795274" y="6563513"/>
            <a:chExt cx="4058499" cy="256533"/>
          </a:xfrm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5D794D64-F9F3-421B-BED5-7D4D97AFBA50}"/>
                </a:ext>
              </a:extLst>
            </p:cNvPr>
            <p:cNvSpPr/>
            <p:nvPr/>
          </p:nvSpPr>
          <p:spPr>
            <a:xfrm>
              <a:off x="6466274" y="6650623"/>
              <a:ext cx="324000" cy="72000"/>
            </a:xfrm>
            <a:prstGeom prst="rect">
              <a:avLst/>
            </a:prstGeom>
            <a:solidFill>
              <a:srgbClr val="323F4F">
                <a:lumMod val="40000"/>
                <a:lumOff val="6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227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26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endParaRPr>
            </a:p>
          </p:txBody>
        </p:sp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EE3EE22D-7623-4249-A736-F3BDB4E85957}"/>
                </a:ext>
              </a:extLst>
            </p:cNvPr>
            <p:cNvSpPr/>
            <p:nvPr/>
          </p:nvSpPr>
          <p:spPr>
            <a:xfrm>
              <a:off x="3795274" y="6650623"/>
              <a:ext cx="324000" cy="72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227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62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F9896D79-F4E3-4FF2-BF53-D01EA15B540D}"/>
                </a:ext>
              </a:extLst>
            </p:cNvPr>
            <p:cNvCxnSpPr>
              <a:cxnSpLocks/>
            </p:cNvCxnSpPr>
            <p:nvPr/>
          </p:nvCxnSpPr>
          <p:spPr>
            <a:xfrm>
              <a:off x="4764455" y="6686623"/>
              <a:ext cx="324000" cy="0"/>
            </a:xfrm>
            <a:prstGeom prst="line">
              <a:avLst/>
            </a:prstGeom>
            <a:noFill/>
            <a:ln w="38100" cap="flat" cmpd="sng" algn="ctr">
              <a:solidFill>
                <a:srgbClr val="323F4F"/>
              </a:solidFill>
              <a:prstDash val="solid"/>
            </a:ln>
            <a:effectLst/>
          </p:spPr>
        </p:cxn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D7093C24-19F1-4EC9-BBF6-1F68736B65CF}"/>
                </a:ext>
              </a:extLst>
            </p:cNvPr>
            <p:cNvSpPr txBox="1"/>
            <p:nvPr/>
          </p:nvSpPr>
          <p:spPr>
            <a:xfrm>
              <a:off x="4093045" y="6563513"/>
              <a:ext cx="756000" cy="256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8227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900" b="0" i="0" u="none" strike="noStrike" kern="0" cap="none" spc="0" normalizeH="0" baseline="0" noProof="0" err="1">
                  <a:ln>
                    <a:noFill/>
                  </a:ln>
                  <a:solidFill>
                    <a:srgbClr val="323F4F"/>
                  </a:solidFill>
                  <a:effectLst/>
                  <a:uLnTx/>
                  <a:uFillTx/>
                  <a:latin typeface="Flexo" pitchFamily="50" charset="0"/>
                  <a:cs typeface="Arial" panose="020B0604020202020204" pitchFamily="34" charset="0"/>
                </a:rPr>
                <a:t>Baseline</a:t>
              </a:r>
              <a:endParaRPr kumimoji="0" lang="es-PE" sz="945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endParaRP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52052ECE-2AA7-41AA-91AB-3B6123C720AE}"/>
                </a:ext>
              </a:extLst>
            </p:cNvPr>
            <p:cNvSpPr txBox="1"/>
            <p:nvPr/>
          </p:nvSpPr>
          <p:spPr>
            <a:xfrm>
              <a:off x="6773773" y="6563513"/>
              <a:ext cx="1080000" cy="256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8227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900" b="0" i="0" u="none" strike="noStrike" kern="0" cap="none" spc="0" normalizeH="0" baseline="0" noProof="0">
                  <a:ln>
                    <a:noFill/>
                  </a:ln>
                  <a:solidFill>
                    <a:srgbClr val="323F4F"/>
                  </a:solidFill>
                  <a:effectLst/>
                  <a:uLnTx/>
                  <a:uFillTx/>
                  <a:latin typeface="Flexo" pitchFamily="50" charset="0"/>
                  <a:cs typeface="Arial" panose="020B0604020202020204" pitchFamily="34" charset="0"/>
                </a:rPr>
                <a:t>% Avance Real</a:t>
              </a: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233CB6B9-2F2A-413F-A452-1BC03CF7355C}"/>
                </a:ext>
              </a:extLst>
            </p:cNvPr>
            <p:cNvSpPr txBox="1"/>
            <p:nvPr/>
          </p:nvSpPr>
          <p:spPr>
            <a:xfrm>
              <a:off x="5062226" y="6563513"/>
              <a:ext cx="1440000" cy="256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8227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900" b="0" i="0" u="none" strike="noStrike" kern="0" cap="none" spc="0" normalizeH="0" baseline="0" noProof="0">
                  <a:ln>
                    <a:noFill/>
                  </a:ln>
                  <a:solidFill>
                    <a:srgbClr val="323F4F"/>
                  </a:solidFill>
                  <a:effectLst/>
                  <a:uLnTx/>
                  <a:uFillTx/>
                  <a:latin typeface="Flexo" pitchFamily="50" charset="0"/>
                  <a:cs typeface="Arial" panose="020B0604020202020204" pitchFamily="34" charset="0"/>
                </a:rPr>
                <a:t>% Avance Planificado</a:t>
              </a:r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6670875-01A7-477C-B8A2-D97414C92967}"/>
              </a:ext>
            </a:extLst>
          </p:cNvPr>
          <p:cNvSpPr txBox="1"/>
          <p:nvPr userDrawn="1"/>
        </p:nvSpPr>
        <p:spPr>
          <a:xfrm>
            <a:off x="349086" y="6608616"/>
            <a:ext cx="4513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RUN</a:t>
            </a:r>
            <a:endParaRPr kumimoji="0" lang="es-PE" sz="945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sp>
        <p:nvSpPr>
          <p:cNvPr id="17" name="Forma libre 4344" descr="Icono de llave inglesa. ">
            <a:extLst>
              <a:ext uri="{FF2B5EF4-FFF2-40B4-BE49-F238E27FC236}">
                <a16:creationId xmlns:a16="http://schemas.microsoft.com/office/drawing/2014/main" id="{C147D482-1B13-438F-97CB-143CDC90822C}"/>
              </a:ext>
            </a:extLst>
          </p:cNvPr>
          <p:cNvSpPr>
            <a:spLocks/>
          </p:cNvSpPr>
          <p:nvPr userDrawn="1"/>
        </p:nvSpPr>
        <p:spPr bwMode="auto">
          <a:xfrm>
            <a:off x="264161" y="6654605"/>
            <a:ext cx="138223" cy="129573"/>
          </a:xfrm>
          <a:custGeom>
            <a:avLst/>
            <a:gdLst>
              <a:gd name="T0" fmla="*/ 853 w 886"/>
              <a:gd name="T1" fmla="*/ 137 h 886"/>
              <a:gd name="T2" fmla="*/ 842 w 886"/>
              <a:gd name="T3" fmla="*/ 134 h 886"/>
              <a:gd name="T4" fmla="*/ 833 w 886"/>
              <a:gd name="T5" fmla="*/ 138 h 886"/>
              <a:gd name="T6" fmla="*/ 646 w 886"/>
              <a:gd name="T7" fmla="*/ 172 h 886"/>
              <a:gd name="T8" fmla="*/ 754 w 886"/>
              <a:gd name="T9" fmla="*/ 46 h 886"/>
              <a:gd name="T10" fmla="*/ 754 w 886"/>
              <a:gd name="T11" fmla="*/ 37 h 886"/>
              <a:gd name="T12" fmla="*/ 747 w 886"/>
              <a:gd name="T13" fmla="*/ 29 h 886"/>
              <a:gd name="T14" fmla="*/ 704 w 886"/>
              <a:gd name="T15" fmla="*/ 12 h 886"/>
              <a:gd name="T16" fmla="*/ 659 w 886"/>
              <a:gd name="T17" fmla="*/ 2 h 886"/>
              <a:gd name="T18" fmla="*/ 615 w 886"/>
              <a:gd name="T19" fmla="*/ 0 h 886"/>
              <a:gd name="T20" fmla="*/ 577 w 886"/>
              <a:gd name="T21" fmla="*/ 6 h 886"/>
              <a:gd name="T22" fmla="*/ 539 w 886"/>
              <a:gd name="T23" fmla="*/ 15 h 886"/>
              <a:gd name="T24" fmla="*/ 505 w 886"/>
              <a:gd name="T25" fmla="*/ 31 h 886"/>
              <a:gd name="T26" fmla="*/ 473 w 886"/>
              <a:gd name="T27" fmla="*/ 52 h 886"/>
              <a:gd name="T28" fmla="*/ 443 w 886"/>
              <a:gd name="T29" fmla="*/ 76 h 886"/>
              <a:gd name="T30" fmla="*/ 405 w 886"/>
              <a:gd name="T31" fmla="*/ 124 h 886"/>
              <a:gd name="T32" fmla="*/ 380 w 886"/>
              <a:gd name="T33" fmla="*/ 178 h 886"/>
              <a:gd name="T34" fmla="*/ 368 w 886"/>
              <a:gd name="T35" fmla="*/ 235 h 886"/>
              <a:gd name="T36" fmla="*/ 368 w 886"/>
              <a:gd name="T37" fmla="*/ 293 h 886"/>
              <a:gd name="T38" fmla="*/ 382 w 886"/>
              <a:gd name="T39" fmla="*/ 351 h 886"/>
              <a:gd name="T40" fmla="*/ 21 w 886"/>
              <a:gd name="T41" fmla="*/ 738 h 886"/>
              <a:gd name="T42" fmla="*/ 7 w 886"/>
              <a:gd name="T43" fmla="*/ 762 h 886"/>
              <a:gd name="T44" fmla="*/ 1 w 886"/>
              <a:gd name="T45" fmla="*/ 787 h 886"/>
              <a:gd name="T46" fmla="*/ 2 w 886"/>
              <a:gd name="T47" fmla="*/ 813 h 886"/>
              <a:gd name="T48" fmla="*/ 11 w 886"/>
              <a:gd name="T49" fmla="*/ 838 h 886"/>
              <a:gd name="T50" fmla="*/ 27 w 886"/>
              <a:gd name="T51" fmla="*/ 860 h 886"/>
              <a:gd name="T52" fmla="*/ 48 w 886"/>
              <a:gd name="T53" fmla="*/ 875 h 886"/>
              <a:gd name="T54" fmla="*/ 73 w 886"/>
              <a:gd name="T55" fmla="*/ 884 h 886"/>
              <a:gd name="T56" fmla="*/ 99 w 886"/>
              <a:gd name="T57" fmla="*/ 885 h 886"/>
              <a:gd name="T58" fmla="*/ 125 w 886"/>
              <a:gd name="T59" fmla="*/ 879 h 886"/>
              <a:gd name="T60" fmla="*/ 148 w 886"/>
              <a:gd name="T61" fmla="*/ 866 h 886"/>
              <a:gd name="T62" fmla="*/ 530 w 886"/>
              <a:gd name="T63" fmla="*/ 502 h 886"/>
              <a:gd name="T64" fmla="*/ 570 w 886"/>
              <a:gd name="T65" fmla="*/ 515 h 886"/>
              <a:gd name="T66" fmla="*/ 612 w 886"/>
              <a:gd name="T67" fmla="*/ 520 h 886"/>
              <a:gd name="T68" fmla="*/ 626 w 886"/>
              <a:gd name="T69" fmla="*/ 520 h 886"/>
              <a:gd name="T70" fmla="*/ 664 w 886"/>
              <a:gd name="T71" fmla="*/ 518 h 886"/>
              <a:gd name="T72" fmla="*/ 702 w 886"/>
              <a:gd name="T73" fmla="*/ 509 h 886"/>
              <a:gd name="T74" fmla="*/ 737 w 886"/>
              <a:gd name="T75" fmla="*/ 496 h 886"/>
              <a:gd name="T76" fmla="*/ 769 w 886"/>
              <a:gd name="T77" fmla="*/ 477 h 886"/>
              <a:gd name="T78" fmla="*/ 800 w 886"/>
              <a:gd name="T79" fmla="*/ 454 h 886"/>
              <a:gd name="T80" fmla="*/ 837 w 886"/>
              <a:gd name="T81" fmla="*/ 413 h 886"/>
              <a:gd name="T82" fmla="*/ 867 w 886"/>
              <a:gd name="T83" fmla="*/ 360 h 886"/>
              <a:gd name="T84" fmla="*/ 883 w 886"/>
              <a:gd name="T85" fmla="*/ 301 h 886"/>
              <a:gd name="T86" fmla="*/ 885 w 886"/>
              <a:gd name="T87" fmla="*/ 241 h 886"/>
              <a:gd name="T88" fmla="*/ 873 w 886"/>
              <a:gd name="T89" fmla="*/ 181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86" h="886">
                <a:moveTo>
                  <a:pt x="857" y="143"/>
                </a:moveTo>
                <a:lnTo>
                  <a:pt x="855" y="139"/>
                </a:lnTo>
                <a:lnTo>
                  <a:pt x="853" y="137"/>
                </a:lnTo>
                <a:lnTo>
                  <a:pt x="849" y="135"/>
                </a:lnTo>
                <a:lnTo>
                  <a:pt x="846" y="133"/>
                </a:lnTo>
                <a:lnTo>
                  <a:pt x="842" y="134"/>
                </a:lnTo>
                <a:lnTo>
                  <a:pt x="839" y="135"/>
                </a:lnTo>
                <a:lnTo>
                  <a:pt x="836" y="136"/>
                </a:lnTo>
                <a:lnTo>
                  <a:pt x="833" y="138"/>
                </a:lnTo>
                <a:lnTo>
                  <a:pt x="712" y="259"/>
                </a:lnTo>
                <a:lnTo>
                  <a:pt x="646" y="259"/>
                </a:lnTo>
                <a:lnTo>
                  <a:pt x="646" y="172"/>
                </a:lnTo>
                <a:lnTo>
                  <a:pt x="751" y="53"/>
                </a:lnTo>
                <a:lnTo>
                  <a:pt x="753" y="49"/>
                </a:lnTo>
                <a:lnTo>
                  <a:pt x="754" y="46"/>
                </a:lnTo>
                <a:lnTo>
                  <a:pt x="755" y="43"/>
                </a:lnTo>
                <a:lnTo>
                  <a:pt x="755" y="39"/>
                </a:lnTo>
                <a:lnTo>
                  <a:pt x="754" y="37"/>
                </a:lnTo>
                <a:lnTo>
                  <a:pt x="752" y="33"/>
                </a:lnTo>
                <a:lnTo>
                  <a:pt x="750" y="31"/>
                </a:lnTo>
                <a:lnTo>
                  <a:pt x="747" y="29"/>
                </a:lnTo>
                <a:lnTo>
                  <a:pt x="733" y="23"/>
                </a:lnTo>
                <a:lnTo>
                  <a:pt x="719" y="16"/>
                </a:lnTo>
                <a:lnTo>
                  <a:pt x="704" y="12"/>
                </a:lnTo>
                <a:lnTo>
                  <a:pt x="689" y="8"/>
                </a:lnTo>
                <a:lnTo>
                  <a:pt x="674" y="5"/>
                </a:lnTo>
                <a:lnTo>
                  <a:pt x="659" y="2"/>
                </a:lnTo>
                <a:lnTo>
                  <a:pt x="643" y="1"/>
                </a:lnTo>
                <a:lnTo>
                  <a:pt x="628" y="0"/>
                </a:lnTo>
                <a:lnTo>
                  <a:pt x="615" y="0"/>
                </a:lnTo>
                <a:lnTo>
                  <a:pt x="602" y="1"/>
                </a:lnTo>
                <a:lnTo>
                  <a:pt x="589" y="3"/>
                </a:lnTo>
                <a:lnTo>
                  <a:pt x="577" y="6"/>
                </a:lnTo>
                <a:lnTo>
                  <a:pt x="564" y="8"/>
                </a:lnTo>
                <a:lnTo>
                  <a:pt x="552" y="11"/>
                </a:lnTo>
                <a:lnTo>
                  <a:pt x="539" y="15"/>
                </a:lnTo>
                <a:lnTo>
                  <a:pt x="527" y="19"/>
                </a:lnTo>
                <a:lnTo>
                  <a:pt x="516" y="25"/>
                </a:lnTo>
                <a:lnTo>
                  <a:pt x="505" y="31"/>
                </a:lnTo>
                <a:lnTo>
                  <a:pt x="493" y="37"/>
                </a:lnTo>
                <a:lnTo>
                  <a:pt x="482" y="44"/>
                </a:lnTo>
                <a:lnTo>
                  <a:pt x="473" y="52"/>
                </a:lnTo>
                <a:lnTo>
                  <a:pt x="462" y="59"/>
                </a:lnTo>
                <a:lnTo>
                  <a:pt x="452" y="68"/>
                </a:lnTo>
                <a:lnTo>
                  <a:pt x="443" y="76"/>
                </a:lnTo>
                <a:lnTo>
                  <a:pt x="429" y="91"/>
                </a:lnTo>
                <a:lnTo>
                  <a:pt x="416" y="107"/>
                </a:lnTo>
                <a:lnTo>
                  <a:pt x="405" y="124"/>
                </a:lnTo>
                <a:lnTo>
                  <a:pt x="396" y="141"/>
                </a:lnTo>
                <a:lnTo>
                  <a:pt x="387" y="160"/>
                </a:lnTo>
                <a:lnTo>
                  <a:pt x="380" y="178"/>
                </a:lnTo>
                <a:lnTo>
                  <a:pt x="374" y="196"/>
                </a:lnTo>
                <a:lnTo>
                  <a:pt x="370" y="215"/>
                </a:lnTo>
                <a:lnTo>
                  <a:pt x="368" y="235"/>
                </a:lnTo>
                <a:lnTo>
                  <a:pt x="366" y="254"/>
                </a:lnTo>
                <a:lnTo>
                  <a:pt x="367" y="274"/>
                </a:lnTo>
                <a:lnTo>
                  <a:pt x="368" y="293"/>
                </a:lnTo>
                <a:lnTo>
                  <a:pt x="371" y="313"/>
                </a:lnTo>
                <a:lnTo>
                  <a:pt x="376" y="332"/>
                </a:lnTo>
                <a:lnTo>
                  <a:pt x="382" y="351"/>
                </a:lnTo>
                <a:lnTo>
                  <a:pt x="390" y="369"/>
                </a:lnTo>
                <a:lnTo>
                  <a:pt x="27" y="732"/>
                </a:lnTo>
                <a:lnTo>
                  <a:pt x="21" y="738"/>
                </a:lnTo>
                <a:lnTo>
                  <a:pt x="16" y="746"/>
                </a:lnTo>
                <a:lnTo>
                  <a:pt x="11" y="753"/>
                </a:lnTo>
                <a:lnTo>
                  <a:pt x="7" y="762"/>
                </a:lnTo>
                <a:lnTo>
                  <a:pt x="4" y="769"/>
                </a:lnTo>
                <a:lnTo>
                  <a:pt x="2" y="778"/>
                </a:lnTo>
                <a:lnTo>
                  <a:pt x="1" y="787"/>
                </a:lnTo>
                <a:lnTo>
                  <a:pt x="0" y="796"/>
                </a:lnTo>
                <a:lnTo>
                  <a:pt x="1" y="805"/>
                </a:lnTo>
                <a:lnTo>
                  <a:pt x="2" y="813"/>
                </a:lnTo>
                <a:lnTo>
                  <a:pt x="4" y="822"/>
                </a:lnTo>
                <a:lnTo>
                  <a:pt x="7" y="830"/>
                </a:lnTo>
                <a:lnTo>
                  <a:pt x="11" y="838"/>
                </a:lnTo>
                <a:lnTo>
                  <a:pt x="15" y="845"/>
                </a:lnTo>
                <a:lnTo>
                  <a:pt x="20" y="853"/>
                </a:lnTo>
                <a:lnTo>
                  <a:pt x="27" y="860"/>
                </a:lnTo>
                <a:lnTo>
                  <a:pt x="33" y="866"/>
                </a:lnTo>
                <a:lnTo>
                  <a:pt x="41" y="871"/>
                </a:lnTo>
                <a:lnTo>
                  <a:pt x="48" y="875"/>
                </a:lnTo>
                <a:lnTo>
                  <a:pt x="55" y="879"/>
                </a:lnTo>
                <a:lnTo>
                  <a:pt x="64" y="882"/>
                </a:lnTo>
                <a:lnTo>
                  <a:pt x="73" y="884"/>
                </a:lnTo>
                <a:lnTo>
                  <a:pt x="81" y="885"/>
                </a:lnTo>
                <a:lnTo>
                  <a:pt x="91" y="886"/>
                </a:lnTo>
                <a:lnTo>
                  <a:pt x="99" y="885"/>
                </a:lnTo>
                <a:lnTo>
                  <a:pt x="108" y="884"/>
                </a:lnTo>
                <a:lnTo>
                  <a:pt x="116" y="882"/>
                </a:lnTo>
                <a:lnTo>
                  <a:pt x="125" y="879"/>
                </a:lnTo>
                <a:lnTo>
                  <a:pt x="133" y="875"/>
                </a:lnTo>
                <a:lnTo>
                  <a:pt x="140" y="871"/>
                </a:lnTo>
                <a:lnTo>
                  <a:pt x="148" y="866"/>
                </a:lnTo>
                <a:lnTo>
                  <a:pt x="154" y="860"/>
                </a:lnTo>
                <a:lnTo>
                  <a:pt x="517" y="497"/>
                </a:lnTo>
                <a:lnTo>
                  <a:pt x="530" y="502"/>
                </a:lnTo>
                <a:lnTo>
                  <a:pt x="543" y="507"/>
                </a:lnTo>
                <a:lnTo>
                  <a:pt x="556" y="512"/>
                </a:lnTo>
                <a:lnTo>
                  <a:pt x="570" y="515"/>
                </a:lnTo>
                <a:lnTo>
                  <a:pt x="584" y="517"/>
                </a:lnTo>
                <a:lnTo>
                  <a:pt x="598" y="519"/>
                </a:lnTo>
                <a:lnTo>
                  <a:pt x="612" y="520"/>
                </a:lnTo>
                <a:lnTo>
                  <a:pt x="626" y="520"/>
                </a:lnTo>
                <a:lnTo>
                  <a:pt x="626" y="520"/>
                </a:lnTo>
                <a:lnTo>
                  <a:pt x="626" y="520"/>
                </a:lnTo>
                <a:lnTo>
                  <a:pt x="639" y="520"/>
                </a:lnTo>
                <a:lnTo>
                  <a:pt x="651" y="519"/>
                </a:lnTo>
                <a:lnTo>
                  <a:pt x="664" y="518"/>
                </a:lnTo>
                <a:lnTo>
                  <a:pt x="677" y="516"/>
                </a:lnTo>
                <a:lnTo>
                  <a:pt x="689" y="513"/>
                </a:lnTo>
                <a:lnTo>
                  <a:pt x="702" y="509"/>
                </a:lnTo>
                <a:lnTo>
                  <a:pt x="714" y="505"/>
                </a:lnTo>
                <a:lnTo>
                  <a:pt x="725" y="501"/>
                </a:lnTo>
                <a:lnTo>
                  <a:pt x="737" y="496"/>
                </a:lnTo>
                <a:lnTo>
                  <a:pt x="748" y="490"/>
                </a:lnTo>
                <a:lnTo>
                  <a:pt x="758" y="484"/>
                </a:lnTo>
                <a:lnTo>
                  <a:pt x="769" y="477"/>
                </a:lnTo>
                <a:lnTo>
                  <a:pt x="780" y="470"/>
                </a:lnTo>
                <a:lnTo>
                  <a:pt x="791" y="462"/>
                </a:lnTo>
                <a:lnTo>
                  <a:pt x="800" y="454"/>
                </a:lnTo>
                <a:lnTo>
                  <a:pt x="810" y="444"/>
                </a:lnTo>
                <a:lnTo>
                  <a:pt x="824" y="429"/>
                </a:lnTo>
                <a:lnTo>
                  <a:pt x="837" y="413"/>
                </a:lnTo>
                <a:lnTo>
                  <a:pt x="848" y="396"/>
                </a:lnTo>
                <a:lnTo>
                  <a:pt x="858" y="378"/>
                </a:lnTo>
                <a:lnTo>
                  <a:pt x="867" y="360"/>
                </a:lnTo>
                <a:lnTo>
                  <a:pt x="873" y="340"/>
                </a:lnTo>
                <a:lnTo>
                  <a:pt x="878" y="321"/>
                </a:lnTo>
                <a:lnTo>
                  <a:pt x="883" y="301"/>
                </a:lnTo>
                <a:lnTo>
                  <a:pt x="885" y="282"/>
                </a:lnTo>
                <a:lnTo>
                  <a:pt x="886" y="261"/>
                </a:lnTo>
                <a:lnTo>
                  <a:pt x="885" y="241"/>
                </a:lnTo>
                <a:lnTo>
                  <a:pt x="883" y="221"/>
                </a:lnTo>
                <a:lnTo>
                  <a:pt x="878" y="200"/>
                </a:lnTo>
                <a:lnTo>
                  <a:pt x="873" y="181"/>
                </a:lnTo>
                <a:lnTo>
                  <a:pt x="865" y="162"/>
                </a:lnTo>
                <a:lnTo>
                  <a:pt x="857" y="14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2279" tIns="41139" rIns="82279" bIns="41139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s-ES" sz="1620"/>
          </a:p>
        </p:txBody>
      </p:sp>
      <p:grpSp>
        <p:nvGrpSpPr>
          <p:cNvPr id="18" name="Grupo 17" descr="Icono de dinero. ">
            <a:extLst>
              <a:ext uri="{FF2B5EF4-FFF2-40B4-BE49-F238E27FC236}">
                <a16:creationId xmlns:a16="http://schemas.microsoft.com/office/drawing/2014/main" id="{67A8F926-F9D7-4E18-A803-3A44DCCD0F0B}"/>
              </a:ext>
            </a:extLst>
          </p:cNvPr>
          <p:cNvGrpSpPr/>
          <p:nvPr userDrawn="1"/>
        </p:nvGrpSpPr>
        <p:grpSpPr>
          <a:xfrm>
            <a:off x="776386" y="6638409"/>
            <a:ext cx="172778" cy="161966"/>
            <a:chOff x="3746500" y="1344613"/>
            <a:chExt cx="285750" cy="287338"/>
          </a:xfrm>
          <a:solidFill>
            <a:schemeClr val="tx1"/>
          </a:solidFill>
        </p:grpSpPr>
        <p:sp>
          <p:nvSpPr>
            <p:cNvPr id="19" name="Forma libre 497">
              <a:extLst>
                <a:ext uri="{FF2B5EF4-FFF2-40B4-BE49-F238E27FC236}">
                  <a16:creationId xmlns:a16="http://schemas.microsoft.com/office/drawing/2014/main" id="{39CECDB4-C9BB-4BA2-946B-BBA190804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0" name="Forma libre 498">
              <a:extLst>
                <a:ext uri="{FF2B5EF4-FFF2-40B4-BE49-F238E27FC236}">
                  <a16:creationId xmlns:a16="http://schemas.microsoft.com/office/drawing/2014/main" id="{5EF4D50A-9689-44A2-9415-007A360E09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1" name="Forma libre 499">
              <a:extLst>
                <a:ext uri="{FF2B5EF4-FFF2-40B4-BE49-F238E27FC236}">
                  <a16:creationId xmlns:a16="http://schemas.microsoft.com/office/drawing/2014/main" id="{C9F1061E-8662-407B-A275-230600AED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2" name="Forma libre 500">
              <a:extLst>
                <a:ext uri="{FF2B5EF4-FFF2-40B4-BE49-F238E27FC236}">
                  <a16:creationId xmlns:a16="http://schemas.microsoft.com/office/drawing/2014/main" id="{FF3A92FB-1776-4333-811C-212BE43F9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3" name="Forma libre 501">
              <a:extLst>
                <a:ext uri="{FF2B5EF4-FFF2-40B4-BE49-F238E27FC236}">
                  <a16:creationId xmlns:a16="http://schemas.microsoft.com/office/drawing/2014/main" id="{242E2672-2BA5-4066-8BEA-4473685A0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4" name="Forma libre 502">
              <a:extLst>
                <a:ext uri="{FF2B5EF4-FFF2-40B4-BE49-F238E27FC236}">
                  <a16:creationId xmlns:a16="http://schemas.microsoft.com/office/drawing/2014/main" id="{24A45F20-20AA-4CEA-AC55-638470E84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5" name="Forma libre 503">
              <a:extLst>
                <a:ext uri="{FF2B5EF4-FFF2-40B4-BE49-F238E27FC236}">
                  <a16:creationId xmlns:a16="http://schemas.microsoft.com/office/drawing/2014/main" id="{E89E1A5C-735D-4CC3-BF59-A8A0A127D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6" name="Forma libre 504">
              <a:extLst>
                <a:ext uri="{FF2B5EF4-FFF2-40B4-BE49-F238E27FC236}">
                  <a16:creationId xmlns:a16="http://schemas.microsoft.com/office/drawing/2014/main" id="{E72C3793-6D75-4C9D-84A1-C1E42B1A5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</p:grpSp>
      <p:sp>
        <p:nvSpPr>
          <p:cNvPr id="27" name="CuadroTexto 26">
            <a:extLst>
              <a:ext uri="{FF2B5EF4-FFF2-40B4-BE49-F238E27FC236}">
                <a16:creationId xmlns:a16="http://schemas.microsoft.com/office/drawing/2014/main" id="{D5D3DD25-918E-4167-B803-F18814CC9672}"/>
              </a:ext>
            </a:extLst>
          </p:cNvPr>
          <p:cNvSpPr txBox="1"/>
          <p:nvPr userDrawn="1"/>
        </p:nvSpPr>
        <p:spPr>
          <a:xfrm>
            <a:off x="895866" y="6608616"/>
            <a:ext cx="5774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GROW</a:t>
            </a:r>
            <a:endParaRPr kumimoji="0" lang="es-PE" sz="945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8A853C2F-4E49-43AC-A5AD-0E7B56385787}"/>
              </a:ext>
            </a:extLst>
          </p:cNvPr>
          <p:cNvSpPr txBox="1"/>
          <p:nvPr userDrawn="1"/>
        </p:nvSpPr>
        <p:spPr>
          <a:xfrm>
            <a:off x="1527842" y="6608616"/>
            <a:ext cx="8984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PE" sz="900" kern="0">
                <a:solidFill>
                  <a:srgbClr val="323F4F"/>
                </a:solidFill>
                <a:latin typeface="Flexo" pitchFamily="50" charset="0"/>
                <a:cs typeface="Arial" panose="020B0604020202020204" pitchFamily="34" charset="0"/>
              </a:rPr>
              <a:t>TRANSFORM</a:t>
            </a:r>
            <a:endParaRPr kumimoji="0" lang="es-PE" sz="945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grpSp>
        <p:nvGrpSpPr>
          <p:cNvPr id="29" name="Grupo 28" descr="Icono de cajas. ">
            <a:extLst>
              <a:ext uri="{FF2B5EF4-FFF2-40B4-BE49-F238E27FC236}">
                <a16:creationId xmlns:a16="http://schemas.microsoft.com/office/drawing/2014/main" id="{1E6C36D9-BEB2-4684-BFDC-31A1CD145A77}"/>
              </a:ext>
            </a:extLst>
          </p:cNvPr>
          <p:cNvGrpSpPr/>
          <p:nvPr userDrawn="1"/>
        </p:nvGrpSpPr>
        <p:grpSpPr>
          <a:xfrm>
            <a:off x="1414211" y="6638409"/>
            <a:ext cx="172778" cy="161966"/>
            <a:chOff x="5465763" y="3068638"/>
            <a:chExt cx="287337" cy="285750"/>
          </a:xfrm>
          <a:solidFill>
            <a:schemeClr val="tx1"/>
          </a:solidFill>
        </p:grpSpPr>
        <p:sp>
          <p:nvSpPr>
            <p:cNvPr id="30" name="Forma libre 617">
              <a:extLst>
                <a:ext uri="{FF2B5EF4-FFF2-40B4-BE49-F238E27FC236}">
                  <a16:creationId xmlns:a16="http://schemas.microsoft.com/office/drawing/2014/main" id="{3ED4A7A2-3168-4050-88DB-4D7697991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188" y="3068638"/>
              <a:ext cx="119063" cy="38100"/>
            </a:xfrm>
            <a:custGeom>
              <a:avLst/>
              <a:gdLst>
                <a:gd name="T0" fmla="*/ 375 w 375"/>
                <a:gd name="T1" fmla="*/ 62 h 120"/>
                <a:gd name="T2" fmla="*/ 374 w 375"/>
                <a:gd name="T3" fmla="*/ 62 h 120"/>
                <a:gd name="T4" fmla="*/ 373 w 375"/>
                <a:gd name="T5" fmla="*/ 61 h 120"/>
                <a:gd name="T6" fmla="*/ 193 w 375"/>
                <a:gd name="T7" fmla="*/ 1 h 120"/>
                <a:gd name="T8" fmla="*/ 188 w 375"/>
                <a:gd name="T9" fmla="*/ 0 h 120"/>
                <a:gd name="T10" fmla="*/ 183 w 375"/>
                <a:gd name="T11" fmla="*/ 1 h 120"/>
                <a:gd name="T12" fmla="*/ 2 w 375"/>
                <a:gd name="T13" fmla="*/ 61 h 120"/>
                <a:gd name="T14" fmla="*/ 1 w 375"/>
                <a:gd name="T15" fmla="*/ 62 h 120"/>
                <a:gd name="T16" fmla="*/ 0 w 375"/>
                <a:gd name="T17" fmla="*/ 62 h 120"/>
                <a:gd name="T18" fmla="*/ 188 w 375"/>
                <a:gd name="T19" fmla="*/ 120 h 120"/>
                <a:gd name="T20" fmla="*/ 375 w 375"/>
                <a:gd name="T21" fmla="*/ 6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" h="120">
                  <a:moveTo>
                    <a:pt x="375" y="62"/>
                  </a:moveTo>
                  <a:lnTo>
                    <a:pt x="374" y="62"/>
                  </a:lnTo>
                  <a:lnTo>
                    <a:pt x="373" y="61"/>
                  </a:lnTo>
                  <a:lnTo>
                    <a:pt x="193" y="1"/>
                  </a:lnTo>
                  <a:lnTo>
                    <a:pt x="188" y="0"/>
                  </a:lnTo>
                  <a:lnTo>
                    <a:pt x="183" y="1"/>
                  </a:lnTo>
                  <a:lnTo>
                    <a:pt x="2" y="61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188" y="120"/>
                  </a:lnTo>
                  <a:lnTo>
                    <a:pt x="375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1" name="Forma libre 618">
              <a:extLst>
                <a:ext uri="{FF2B5EF4-FFF2-40B4-BE49-F238E27FC236}">
                  <a16:creationId xmlns:a16="http://schemas.microsoft.com/office/drawing/2014/main" id="{D8E13285-DDA0-48D2-8592-5C15DB38A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9275" y="3097213"/>
              <a:ext cx="57150" cy="93663"/>
            </a:xfrm>
            <a:custGeom>
              <a:avLst/>
              <a:gdLst>
                <a:gd name="T0" fmla="*/ 181 w 181"/>
                <a:gd name="T1" fmla="*/ 210 h 295"/>
                <a:gd name="T2" fmla="*/ 181 w 181"/>
                <a:gd name="T3" fmla="*/ 0 h 295"/>
                <a:gd name="T4" fmla="*/ 0 w 181"/>
                <a:gd name="T5" fmla="*/ 56 h 295"/>
                <a:gd name="T6" fmla="*/ 0 w 181"/>
                <a:gd name="T7" fmla="*/ 295 h 295"/>
                <a:gd name="T8" fmla="*/ 171 w 181"/>
                <a:gd name="T9" fmla="*/ 224 h 295"/>
                <a:gd name="T10" fmla="*/ 174 w 181"/>
                <a:gd name="T11" fmla="*/ 222 h 295"/>
                <a:gd name="T12" fmla="*/ 178 w 181"/>
                <a:gd name="T13" fmla="*/ 219 h 295"/>
                <a:gd name="T14" fmla="*/ 180 w 181"/>
                <a:gd name="T15" fmla="*/ 215 h 295"/>
                <a:gd name="T16" fmla="*/ 181 w 181"/>
                <a:gd name="T17" fmla="*/ 21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181" y="210"/>
                  </a:moveTo>
                  <a:lnTo>
                    <a:pt x="181" y="0"/>
                  </a:lnTo>
                  <a:lnTo>
                    <a:pt x="0" y="56"/>
                  </a:lnTo>
                  <a:lnTo>
                    <a:pt x="0" y="295"/>
                  </a:lnTo>
                  <a:lnTo>
                    <a:pt x="171" y="224"/>
                  </a:lnTo>
                  <a:lnTo>
                    <a:pt x="174" y="222"/>
                  </a:lnTo>
                  <a:lnTo>
                    <a:pt x="178" y="219"/>
                  </a:lnTo>
                  <a:lnTo>
                    <a:pt x="180" y="215"/>
                  </a:lnTo>
                  <a:lnTo>
                    <a:pt x="181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2" name="Forma libre 619">
              <a:extLst>
                <a:ext uri="{FF2B5EF4-FFF2-40B4-BE49-F238E27FC236}">
                  <a16:creationId xmlns:a16="http://schemas.microsoft.com/office/drawing/2014/main" id="{3D5204B4-1110-465B-8858-6C960CB41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097213"/>
              <a:ext cx="57150" cy="93663"/>
            </a:xfrm>
            <a:custGeom>
              <a:avLst/>
              <a:gdLst>
                <a:gd name="T0" fmla="*/ 9 w 181"/>
                <a:gd name="T1" fmla="*/ 224 h 295"/>
                <a:gd name="T2" fmla="*/ 181 w 181"/>
                <a:gd name="T3" fmla="*/ 295 h 295"/>
                <a:gd name="T4" fmla="*/ 181 w 181"/>
                <a:gd name="T5" fmla="*/ 56 h 295"/>
                <a:gd name="T6" fmla="*/ 0 w 181"/>
                <a:gd name="T7" fmla="*/ 0 h 295"/>
                <a:gd name="T8" fmla="*/ 0 w 181"/>
                <a:gd name="T9" fmla="*/ 210 h 295"/>
                <a:gd name="T10" fmla="*/ 0 w 181"/>
                <a:gd name="T11" fmla="*/ 215 h 295"/>
                <a:gd name="T12" fmla="*/ 2 w 181"/>
                <a:gd name="T13" fmla="*/ 219 h 295"/>
                <a:gd name="T14" fmla="*/ 6 w 181"/>
                <a:gd name="T15" fmla="*/ 222 h 295"/>
                <a:gd name="T16" fmla="*/ 9 w 181"/>
                <a:gd name="T17" fmla="*/ 2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9" y="224"/>
                  </a:moveTo>
                  <a:lnTo>
                    <a:pt x="181" y="295"/>
                  </a:lnTo>
                  <a:lnTo>
                    <a:pt x="181" y="56"/>
                  </a:lnTo>
                  <a:lnTo>
                    <a:pt x="0" y="0"/>
                  </a:lnTo>
                  <a:lnTo>
                    <a:pt x="0" y="210"/>
                  </a:lnTo>
                  <a:lnTo>
                    <a:pt x="0" y="215"/>
                  </a:lnTo>
                  <a:lnTo>
                    <a:pt x="2" y="219"/>
                  </a:lnTo>
                  <a:lnTo>
                    <a:pt x="6" y="222"/>
                  </a:lnTo>
                  <a:lnTo>
                    <a:pt x="9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3" name="Forma libre 620">
              <a:extLst>
                <a:ext uri="{FF2B5EF4-FFF2-40B4-BE49-F238E27FC236}">
                  <a16:creationId xmlns:a16="http://schemas.microsoft.com/office/drawing/2014/main" id="{6B7E0950-F996-439F-917C-114705BD0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475" y="3217863"/>
              <a:ext cx="47625" cy="77788"/>
            </a:xfrm>
            <a:custGeom>
              <a:avLst/>
              <a:gdLst>
                <a:gd name="T0" fmla="*/ 0 w 150"/>
                <a:gd name="T1" fmla="*/ 67 h 249"/>
                <a:gd name="T2" fmla="*/ 0 w 150"/>
                <a:gd name="T3" fmla="*/ 249 h 249"/>
                <a:gd name="T4" fmla="*/ 141 w 150"/>
                <a:gd name="T5" fmla="*/ 177 h 249"/>
                <a:gd name="T6" fmla="*/ 146 w 150"/>
                <a:gd name="T7" fmla="*/ 175 h 249"/>
                <a:gd name="T8" fmla="*/ 148 w 150"/>
                <a:gd name="T9" fmla="*/ 171 h 249"/>
                <a:gd name="T10" fmla="*/ 149 w 150"/>
                <a:gd name="T11" fmla="*/ 168 h 249"/>
                <a:gd name="T12" fmla="*/ 150 w 150"/>
                <a:gd name="T13" fmla="*/ 164 h 249"/>
                <a:gd name="T14" fmla="*/ 150 w 150"/>
                <a:gd name="T15" fmla="*/ 0 h 249"/>
                <a:gd name="T16" fmla="*/ 0 w 150"/>
                <a:gd name="T17" fmla="*/ 6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249">
                  <a:moveTo>
                    <a:pt x="0" y="67"/>
                  </a:moveTo>
                  <a:lnTo>
                    <a:pt x="0" y="249"/>
                  </a:lnTo>
                  <a:lnTo>
                    <a:pt x="141" y="177"/>
                  </a:lnTo>
                  <a:lnTo>
                    <a:pt x="146" y="175"/>
                  </a:lnTo>
                  <a:lnTo>
                    <a:pt x="148" y="171"/>
                  </a:lnTo>
                  <a:lnTo>
                    <a:pt x="149" y="168"/>
                  </a:lnTo>
                  <a:lnTo>
                    <a:pt x="150" y="164"/>
                  </a:lnTo>
                  <a:lnTo>
                    <a:pt x="150" y="0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4" name="Forma libre 621">
              <a:extLst>
                <a:ext uri="{FF2B5EF4-FFF2-40B4-BE49-F238E27FC236}">
                  <a16:creationId xmlns:a16="http://schemas.microsoft.com/office/drawing/2014/main" id="{0A881E18-2DDA-4089-8B55-63C395994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263" y="3192463"/>
              <a:ext cx="88900" cy="38100"/>
            </a:xfrm>
            <a:custGeom>
              <a:avLst/>
              <a:gdLst>
                <a:gd name="T0" fmla="*/ 146 w 281"/>
                <a:gd name="T1" fmla="*/ 2 h 120"/>
                <a:gd name="T2" fmla="*/ 143 w 281"/>
                <a:gd name="T3" fmla="*/ 0 h 120"/>
                <a:gd name="T4" fmla="*/ 141 w 281"/>
                <a:gd name="T5" fmla="*/ 0 h 120"/>
                <a:gd name="T6" fmla="*/ 138 w 281"/>
                <a:gd name="T7" fmla="*/ 0 h 120"/>
                <a:gd name="T8" fmla="*/ 134 w 281"/>
                <a:gd name="T9" fmla="*/ 2 h 120"/>
                <a:gd name="T10" fmla="*/ 0 w 281"/>
                <a:gd name="T11" fmla="*/ 55 h 120"/>
                <a:gd name="T12" fmla="*/ 141 w 281"/>
                <a:gd name="T13" fmla="*/ 120 h 120"/>
                <a:gd name="T14" fmla="*/ 281 w 281"/>
                <a:gd name="T15" fmla="*/ 55 h 120"/>
                <a:gd name="T16" fmla="*/ 146 w 281"/>
                <a:gd name="T17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1" h="120">
                  <a:moveTo>
                    <a:pt x="146" y="2"/>
                  </a:moveTo>
                  <a:lnTo>
                    <a:pt x="143" y="0"/>
                  </a:lnTo>
                  <a:lnTo>
                    <a:pt x="141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0" y="55"/>
                  </a:lnTo>
                  <a:lnTo>
                    <a:pt x="141" y="120"/>
                  </a:lnTo>
                  <a:lnTo>
                    <a:pt x="281" y="55"/>
                  </a:lnTo>
                  <a:lnTo>
                    <a:pt x="14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5" name="Forma libre 622">
              <a:extLst>
                <a:ext uri="{FF2B5EF4-FFF2-40B4-BE49-F238E27FC236}">
                  <a16:creationId xmlns:a16="http://schemas.microsoft.com/office/drawing/2014/main" id="{6218BC25-E223-4C48-890B-8A5A9339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325" y="3217863"/>
              <a:ext cx="47625" cy="77788"/>
            </a:xfrm>
            <a:custGeom>
              <a:avLst/>
              <a:gdLst>
                <a:gd name="T0" fmla="*/ 0 w 151"/>
                <a:gd name="T1" fmla="*/ 164 h 249"/>
                <a:gd name="T2" fmla="*/ 1 w 151"/>
                <a:gd name="T3" fmla="*/ 167 h 249"/>
                <a:gd name="T4" fmla="*/ 2 w 151"/>
                <a:gd name="T5" fmla="*/ 171 h 249"/>
                <a:gd name="T6" fmla="*/ 5 w 151"/>
                <a:gd name="T7" fmla="*/ 175 h 249"/>
                <a:gd name="T8" fmla="*/ 8 w 151"/>
                <a:gd name="T9" fmla="*/ 177 h 249"/>
                <a:gd name="T10" fmla="*/ 151 w 151"/>
                <a:gd name="T11" fmla="*/ 249 h 249"/>
                <a:gd name="T12" fmla="*/ 151 w 151"/>
                <a:gd name="T13" fmla="*/ 67 h 249"/>
                <a:gd name="T14" fmla="*/ 0 w 151"/>
                <a:gd name="T15" fmla="*/ 0 h 249"/>
                <a:gd name="T16" fmla="*/ 0 w 151"/>
                <a:gd name="T17" fmla="*/ 16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249">
                  <a:moveTo>
                    <a:pt x="0" y="164"/>
                  </a:moveTo>
                  <a:lnTo>
                    <a:pt x="1" y="167"/>
                  </a:lnTo>
                  <a:lnTo>
                    <a:pt x="2" y="171"/>
                  </a:lnTo>
                  <a:lnTo>
                    <a:pt x="5" y="175"/>
                  </a:lnTo>
                  <a:lnTo>
                    <a:pt x="8" y="177"/>
                  </a:lnTo>
                  <a:lnTo>
                    <a:pt x="151" y="249"/>
                  </a:lnTo>
                  <a:lnTo>
                    <a:pt x="151" y="67"/>
                  </a:lnTo>
                  <a:lnTo>
                    <a:pt x="0" y="0"/>
                  </a:lnTo>
                  <a:lnTo>
                    <a:pt x="0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6" name="Forma libre 623">
              <a:extLst>
                <a:ext uri="{FF2B5EF4-FFF2-40B4-BE49-F238E27FC236}">
                  <a16:creationId xmlns:a16="http://schemas.microsoft.com/office/drawing/2014/main" id="{2384565C-9F0D-4FE6-8C50-596BDBFA8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288" y="3201988"/>
              <a:ext cx="144463" cy="47625"/>
            </a:xfrm>
            <a:custGeom>
              <a:avLst/>
              <a:gdLst>
                <a:gd name="T0" fmla="*/ 231 w 452"/>
                <a:gd name="T1" fmla="*/ 2 h 151"/>
                <a:gd name="T2" fmla="*/ 225 w 452"/>
                <a:gd name="T3" fmla="*/ 0 h 151"/>
                <a:gd name="T4" fmla="*/ 221 w 452"/>
                <a:gd name="T5" fmla="*/ 2 h 151"/>
                <a:gd name="T6" fmla="*/ 0 w 452"/>
                <a:gd name="T7" fmla="*/ 70 h 151"/>
                <a:gd name="T8" fmla="*/ 225 w 452"/>
                <a:gd name="T9" fmla="*/ 151 h 151"/>
                <a:gd name="T10" fmla="*/ 452 w 452"/>
                <a:gd name="T11" fmla="*/ 70 h 151"/>
                <a:gd name="T12" fmla="*/ 231 w 452"/>
                <a:gd name="T13" fmla="*/ 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2" h="151">
                  <a:moveTo>
                    <a:pt x="231" y="2"/>
                  </a:moveTo>
                  <a:lnTo>
                    <a:pt x="225" y="0"/>
                  </a:lnTo>
                  <a:lnTo>
                    <a:pt x="221" y="2"/>
                  </a:lnTo>
                  <a:lnTo>
                    <a:pt x="0" y="70"/>
                  </a:lnTo>
                  <a:lnTo>
                    <a:pt x="225" y="151"/>
                  </a:lnTo>
                  <a:lnTo>
                    <a:pt x="452" y="70"/>
                  </a:lnTo>
                  <a:lnTo>
                    <a:pt x="23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7" name="Forma libre 624">
              <a:extLst>
                <a:ext uri="{FF2B5EF4-FFF2-40B4-BE49-F238E27FC236}">
                  <a16:creationId xmlns:a16="http://schemas.microsoft.com/office/drawing/2014/main" id="{A7C2B59B-8FAF-487F-B8A0-3D9225CF8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3230563"/>
              <a:ext cx="76200" cy="123825"/>
            </a:xfrm>
            <a:custGeom>
              <a:avLst/>
              <a:gdLst>
                <a:gd name="T0" fmla="*/ 0 w 240"/>
                <a:gd name="T1" fmla="*/ 285 h 386"/>
                <a:gd name="T2" fmla="*/ 1 w 240"/>
                <a:gd name="T3" fmla="*/ 289 h 386"/>
                <a:gd name="T4" fmla="*/ 2 w 240"/>
                <a:gd name="T5" fmla="*/ 294 h 386"/>
                <a:gd name="T6" fmla="*/ 5 w 240"/>
                <a:gd name="T7" fmla="*/ 297 h 386"/>
                <a:gd name="T8" fmla="*/ 10 w 240"/>
                <a:gd name="T9" fmla="*/ 299 h 386"/>
                <a:gd name="T10" fmla="*/ 240 w 240"/>
                <a:gd name="T11" fmla="*/ 386 h 386"/>
                <a:gd name="T12" fmla="*/ 240 w 240"/>
                <a:gd name="T13" fmla="*/ 84 h 386"/>
                <a:gd name="T14" fmla="*/ 0 w 240"/>
                <a:gd name="T15" fmla="*/ 0 h 386"/>
                <a:gd name="T16" fmla="*/ 0 w 240"/>
                <a:gd name="T17" fmla="*/ 2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386">
                  <a:moveTo>
                    <a:pt x="0" y="285"/>
                  </a:moveTo>
                  <a:lnTo>
                    <a:pt x="1" y="289"/>
                  </a:lnTo>
                  <a:lnTo>
                    <a:pt x="2" y="294"/>
                  </a:lnTo>
                  <a:lnTo>
                    <a:pt x="5" y="297"/>
                  </a:lnTo>
                  <a:lnTo>
                    <a:pt x="10" y="299"/>
                  </a:lnTo>
                  <a:lnTo>
                    <a:pt x="240" y="386"/>
                  </a:lnTo>
                  <a:lnTo>
                    <a:pt x="240" y="84"/>
                  </a:lnTo>
                  <a:lnTo>
                    <a:pt x="0" y="0"/>
                  </a:lnTo>
                  <a:lnTo>
                    <a:pt x="0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8" name="Forma libre 625">
              <a:extLst>
                <a:ext uri="{FF2B5EF4-FFF2-40B4-BE49-F238E27FC236}">
                  <a16:creationId xmlns:a16="http://schemas.microsoft.com/office/drawing/2014/main" id="{2D456B7F-F377-42E3-9432-3B752645D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3230563"/>
              <a:ext cx="76200" cy="123825"/>
            </a:xfrm>
            <a:custGeom>
              <a:avLst/>
              <a:gdLst>
                <a:gd name="T0" fmla="*/ 0 w 241"/>
                <a:gd name="T1" fmla="*/ 386 h 386"/>
                <a:gd name="T2" fmla="*/ 231 w 241"/>
                <a:gd name="T3" fmla="*/ 299 h 386"/>
                <a:gd name="T4" fmla="*/ 235 w 241"/>
                <a:gd name="T5" fmla="*/ 297 h 386"/>
                <a:gd name="T6" fmla="*/ 238 w 241"/>
                <a:gd name="T7" fmla="*/ 294 h 386"/>
                <a:gd name="T8" fmla="*/ 239 w 241"/>
                <a:gd name="T9" fmla="*/ 289 h 386"/>
                <a:gd name="T10" fmla="*/ 241 w 241"/>
                <a:gd name="T11" fmla="*/ 285 h 386"/>
                <a:gd name="T12" fmla="*/ 241 w 241"/>
                <a:gd name="T13" fmla="*/ 0 h 386"/>
                <a:gd name="T14" fmla="*/ 0 w 241"/>
                <a:gd name="T15" fmla="*/ 84 h 386"/>
                <a:gd name="T16" fmla="*/ 0 w 241"/>
                <a:gd name="T17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1" h="386">
                  <a:moveTo>
                    <a:pt x="0" y="386"/>
                  </a:moveTo>
                  <a:lnTo>
                    <a:pt x="231" y="299"/>
                  </a:lnTo>
                  <a:lnTo>
                    <a:pt x="235" y="297"/>
                  </a:lnTo>
                  <a:lnTo>
                    <a:pt x="238" y="294"/>
                  </a:lnTo>
                  <a:lnTo>
                    <a:pt x="239" y="289"/>
                  </a:lnTo>
                  <a:lnTo>
                    <a:pt x="241" y="285"/>
                  </a:lnTo>
                  <a:lnTo>
                    <a:pt x="241" y="0"/>
                  </a:lnTo>
                  <a:lnTo>
                    <a:pt x="0" y="84"/>
                  </a:lnTo>
                  <a:lnTo>
                    <a:pt x="0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</p:grpSp>
      <p:pic>
        <p:nvPicPr>
          <p:cNvPr id="39" name="Picture 2" descr="Imagen relacionada">
            <a:extLst>
              <a:ext uri="{FF2B5EF4-FFF2-40B4-BE49-F238E27FC236}">
                <a16:creationId xmlns:a16="http://schemas.microsoft.com/office/drawing/2014/main" id="{1EB6FA47-130D-482B-87A5-420284F6D8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8269" y="6606015"/>
            <a:ext cx="231472" cy="226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86 CuadroTexto">
            <a:extLst>
              <a:ext uri="{FF2B5EF4-FFF2-40B4-BE49-F238E27FC236}">
                <a16:creationId xmlns:a16="http://schemas.microsoft.com/office/drawing/2014/main" id="{A997B59B-25A9-4BCD-9640-03611767306D}"/>
              </a:ext>
            </a:extLst>
          </p:cNvPr>
          <p:cNvSpPr txBox="1"/>
          <p:nvPr userDrawn="1"/>
        </p:nvSpPr>
        <p:spPr>
          <a:xfrm>
            <a:off x="2985794" y="6608616"/>
            <a:ext cx="8864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marR="0" lvl="0" indent="0" algn="ctr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kern="0">
                <a:solidFill>
                  <a:srgbClr val="323F4F"/>
                </a:solidFill>
                <a:latin typeface="Flexo" pitchFamily="50" charset="0"/>
                <a:cs typeface="Arial" panose="020B0604020202020204" pitchFamily="34" charset="0"/>
              </a:defRPr>
            </a:lvl1pPr>
          </a:lstStyle>
          <a:p>
            <a:r>
              <a:rPr lang="es-PE" sz="900"/>
              <a:t>Modelo Ágil</a:t>
            </a:r>
            <a:endParaRPr lang="es-ES" sz="900"/>
          </a:p>
        </p:txBody>
      </p: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6BDB1BBB-348F-4713-BFC1-44BEC4676F2E}"/>
              </a:ext>
            </a:extLst>
          </p:cNvPr>
          <p:cNvCxnSpPr/>
          <p:nvPr userDrawn="1"/>
        </p:nvCxnSpPr>
        <p:spPr>
          <a:xfrm flipV="1">
            <a:off x="2564009" y="6615552"/>
            <a:ext cx="0" cy="20767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1442ED12-22A6-474E-9EC7-4394E987006F}"/>
              </a:ext>
            </a:extLst>
          </p:cNvPr>
          <p:cNvCxnSpPr/>
          <p:nvPr userDrawn="1"/>
        </p:nvCxnSpPr>
        <p:spPr>
          <a:xfrm flipV="1">
            <a:off x="3907196" y="6615552"/>
            <a:ext cx="0" cy="20767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52B04CEF-ACDA-42B1-8242-1817B09D5EAD}"/>
              </a:ext>
            </a:extLst>
          </p:cNvPr>
          <p:cNvCxnSpPr/>
          <p:nvPr userDrawn="1"/>
        </p:nvCxnSpPr>
        <p:spPr>
          <a:xfrm flipV="1">
            <a:off x="8100263" y="6615552"/>
            <a:ext cx="0" cy="20767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uadroTexto 43">
            <a:extLst>
              <a:ext uri="{FF2B5EF4-FFF2-40B4-BE49-F238E27FC236}">
                <a16:creationId xmlns:a16="http://schemas.microsoft.com/office/drawing/2014/main" id="{DF8B2A64-C2CA-4B4E-8528-D603D91CAD5D}"/>
              </a:ext>
            </a:extLst>
          </p:cNvPr>
          <p:cNvSpPr txBox="1"/>
          <p:nvPr userDrawn="1"/>
        </p:nvSpPr>
        <p:spPr>
          <a:xfrm>
            <a:off x="8155931" y="6608616"/>
            <a:ext cx="7256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Eras Bold ITC" panose="020B0604020202020204" pitchFamily="34" charset="0"/>
                <a:cs typeface="Arial" panose="020B0604020202020204" pitchFamily="34" charset="0"/>
              </a:rPr>
              <a:t>WOW</a:t>
            </a:r>
            <a:endParaRPr kumimoji="0" lang="es-PE" sz="945" b="1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Eras Bold ITC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C4077DF9-F987-4F47-92C0-9DD9CF9FF276}"/>
              </a:ext>
            </a:extLst>
          </p:cNvPr>
          <p:cNvCxnSpPr/>
          <p:nvPr userDrawn="1"/>
        </p:nvCxnSpPr>
        <p:spPr>
          <a:xfrm flipV="1">
            <a:off x="8910997" y="6615552"/>
            <a:ext cx="0" cy="20767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6FCB2BAD-E15A-4425-834C-1F70CBDC7061}"/>
              </a:ext>
            </a:extLst>
          </p:cNvPr>
          <p:cNvSpPr txBox="1"/>
          <p:nvPr userDrawn="1"/>
        </p:nvSpPr>
        <p:spPr>
          <a:xfrm>
            <a:off x="9167255" y="6450216"/>
            <a:ext cx="3024745" cy="230832"/>
          </a:xfrm>
          <a:prstGeom prst="rect">
            <a:avLst/>
          </a:prstGeom>
          <a:solidFill>
            <a:srgbClr val="D9D9D9"/>
          </a:solidFill>
        </p:spPr>
        <p:txBody>
          <a:bodyPr wrap="square" rtlCol="0" anchor="ctr">
            <a:spAutoFit/>
          </a:bodyPr>
          <a:lstStyle/>
          <a:p>
            <a:pPr marL="0" marR="0" lvl="0" indent="0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/>
                <a:cs typeface="Arial" panose="020B0604020202020204" pitchFamily="34" charset="0"/>
              </a:rPr>
              <a:t>Impacto en riesgo:</a:t>
            </a:r>
            <a:endParaRPr kumimoji="0" lang="es-PE" sz="1260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47" name="86 CuadroTexto">
            <a:extLst>
              <a:ext uri="{FF2B5EF4-FFF2-40B4-BE49-F238E27FC236}">
                <a16:creationId xmlns:a16="http://schemas.microsoft.com/office/drawing/2014/main" id="{56B2F700-3BEC-4B1F-84B2-68D3416CEA8E}"/>
              </a:ext>
            </a:extLst>
          </p:cNvPr>
          <p:cNvSpPr txBox="1"/>
          <p:nvPr userDrawn="1"/>
        </p:nvSpPr>
        <p:spPr>
          <a:xfrm>
            <a:off x="10404991" y="6460846"/>
            <a:ext cx="518335" cy="216982"/>
          </a:xfrm>
          <a:prstGeom prst="rect">
            <a:avLst/>
          </a:prstGeom>
          <a:solidFill>
            <a:srgbClr val="548235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PE" sz="810" b="1" kern="0">
                <a:solidFill>
                  <a:schemeClr val="bg1"/>
                </a:solidFill>
                <a:latin typeface="Flexo" pitchFamily="50" charset="0"/>
                <a:cs typeface="Arial" pitchFamily="34" charset="0"/>
              </a:rPr>
              <a:t>Bajo</a:t>
            </a:r>
            <a:endParaRPr lang="es-ES" sz="810" b="1" kern="0">
              <a:solidFill>
                <a:schemeClr val="bg1"/>
              </a:solidFill>
              <a:latin typeface="Flexo" pitchFamily="50" charset="0"/>
              <a:cs typeface="Arial" pitchFamily="34" charset="0"/>
            </a:endParaRPr>
          </a:p>
        </p:txBody>
      </p:sp>
      <p:sp>
        <p:nvSpPr>
          <p:cNvPr id="48" name="86 CuadroTexto">
            <a:extLst>
              <a:ext uri="{FF2B5EF4-FFF2-40B4-BE49-F238E27FC236}">
                <a16:creationId xmlns:a16="http://schemas.microsoft.com/office/drawing/2014/main" id="{6CDD3C68-8F38-4A45-8ACC-AA49AB1A461B}"/>
              </a:ext>
            </a:extLst>
          </p:cNvPr>
          <p:cNvSpPr txBox="1"/>
          <p:nvPr userDrawn="1"/>
        </p:nvSpPr>
        <p:spPr>
          <a:xfrm>
            <a:off x="10914839" y="6460846"/>
            <a:ext cx="760225" cy="216982"/>
          </a:xfrm>
          <a:prstGeom prst="rect">
            <a:avLst/>
          </a:prstGeom>
          <a:solidFill>
            <a:srgbClr val="FFB502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PE" sz="810" b="1" kern="0">
                <a:solidFill>
                  <a:schemeClr val="bg1"/>
                </a:solidFill>
                <a:latin typeface="Flexo" pitchFamily="50" charset="0"/>
                <a:cs typeface="Arial" pitchFamily="34" charset="0"/>
              </a:rPr>
              <a:t>Medio</a:t>
            </a:r>
            <a:endParaRPr lang="es-ES" sz="810" b="1" kern="0">
              <a:solidFill>
                <a:schemeClr val="bg1"/>
              </a:solidFill>
              <a:latin typeface="Flexo" pitchFamily="50" charset="0"/>
              <a:cs typeface="Arial" pitchFamily="34" charset="0"/>
            </a:endParaRPr>
          </a:p>
        </p:txBody>
      </p:sp>
      <p:sp>
        <p:nvSpPr>
          <p:cNvPr id="49" name="86 CuadroTexto">
            <a:extLst>
              <a:ext uri="{FF2B5EF4-FFF2-40B4-BE49-F238E27FC236}">
                <a16:creationId xmlns:a16="http://schemas.microsoft.com/office/drawing/2014/main" id="{E089F0DC-124B-42BE-BCA3-0B9102AEF4A7}"/>
              </a:ext>
            </a:extLst>
          </p:cNvPr>
          <p:cNvSpPr txBox="1"/>
          <p:nvPr userDrawn="1"/>
        </p:nvSpPr>
        <p:spPr>
          <a:xfrm>
            <a:off x="11666579" y="6460846"/>
            <a:ext cx="518335" cy="21698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PE" sz="810" b="1" kern="0">
                <a:solidFill>
                  <a:schemeClr val="bg1"/>
                </a:solidFill>
                <a:latin typeface="Flexo" pitchFamily="50" charset="0"/>
                <a:cs typeface="Arial" pitchFamily="34" charset="0"/>
              </a:rPr>
              <a:t>Alto</a:t>
            </a:r>
            <a:endParaRPr lang="es-ES" sz="810" b="1" kern="0">
              <a:solidFill>
                <a:schemeClr val="bg1"/>
              </a:solidFill>
              <a:latin typeface="Flexo" pitchFamily="50" charset="0"/>
              <a:cs typeface="Arial" pitchFamily="34" charset="0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A5687155-A932-4039-AA2A-A7745C21639C}"/>
              </a:ext>
            </a:extLst>
          </p:cNvPr>
          <p:cNvSpPr/>
          <p:nvPr userDrawn="1"/>
        </p:nvSpPr>
        <p:spPr>
          <a:xfrm>
            <a:off x="9646" y="657378"/>
            <a:ext cx="1326476" cy="5934241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/>
          </a:p>
        </p:txBody>
      </p:sp>
      <p:sp>
        <p:nvSpPr>
          <p:cNvPr id="51" name="Shape 552">
            <a:extLst>
              <a:ext uri="{FF2B5EF4-FFF2-40B4-BE49-F238E27FC236}">
                <a16:creationId xmlns:a16="http://schemas.microsoft.com/office/drawing/2014/main" id="{9D8AC3E3-DFBC-46DF-8020-74218FA392C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3209" y="5034854"/>
            <a:ext cx="552891" cy="421112"/>
          </a:xfrm>
          <a:custGeom>
            <a:avLst/>
            <a:gdLst>
              <a:gd name="T0" fmla="*/ 2147483646 w 16266"/>
              <a:gd name="T1" fmla="*/ 2147483646 h 14215"/>
              <a:gd name="T2" fmla="*/ 2147483646 w 16266"/>
              <a:gd name="T3" fmla="*/ 2147483646 h 14215"/>
              <a:gd name="T4" fmla="*/ 2147483646 w 16266"/>
              <a:gd name="T5" fmla="*/ 2147483646 h 14215"/>
              <a:gd name="T6" fmla="*/ 2147483646 w 16266"/>
              <a:gd name="T7" fmla="*/ 2147483646 h 14215"/>
              <a:gd name="T8" fmla="*/ 2147483646 w 16266"/>
              <a:gd name="T9" fmla="*/ 2147483646 h 14215"/>
              <a:gd name="T10" fmla="*/ 2147483646 w 16266"/>
              <a:gd name="T11" fmla="*/ 2147483646 h 14215"/>
              <a:gd name="T12" fmla="*/ 2147483646 w 16266"/>
              <a:gd name="T13" fmla="*/ 2147483646 h 14215"/>
              <a:gd name="T14" fmla="*/ 2147483646 w 16266"/>
              <a:gd name="T15" fmla="*/ 2147483646 h 14215"/>
              <a:gd name="T16" fmla="*/ 2147483646 w 16266"/>
              <a:gd name="T17" fmla="*/ 2147483646 h 14215"/>
              <a:gd name="T18" fmla="*/ 2147483646 w 16266"/>
              <a:gd name="T19" fmla="*/ 2147483646 h 14215"/>
              <a:gd name="T20" fmla="*/ 2147483646 w 16266"/>
              <a:gd name="T21" fmla="*/ 2147483646 h 14215"/>
              <a:gd name="T22" fmla="*/ 2147483646 w 16266"/>
              <a:gd name="T23" fmla="*/ 2147483646 h 14215"/>
              <a:gd name="T24" fmla="*/ 2147483646 w 16266"/>
              <a:gd name="T25" fmla="*/ 2147483646 h 14215"/>
              <a:gd name="T26" fmla="*/ 2147483646 w 16266"/>
              <a:gd name="T27" fmla="*/ 2147483646 h 14215"/>
              <a:gd name="T28" fmla="*/ 2147483646 w 16266"/>
              <a:gd name="T29" fmla="*/ 2147483646 h 14215"/>
              <a:gd name="T30" fmla="*/ 2147483646 w 16266"/>
              <a:gd name="T31" fmla="*/ 2147483646 h 14215"/>
              <a:gd name="T32" fmla="*/ 2147483646 w 16266"/>
              <a:gd name="T33" fmla="*/ 2147483646 h 14215"/>
              <a:gd name="T34" fmla="*/ 2147483646 w 16266"/>
              <a:gd name="T35" fmla="*/ 2147483646 h 14215"/>
              <a:gd name="T36" fmla="*/ 2147483646 w 16266"/>
              <a:gd name="T37" fmla="*/ 2147483646 h 14215"/>
              <a:gd name="T38" fmla="*/ 2147483646 w 16266"/>
              <a:gd name="T39" fmla="*/ 2147483646 h 14215"/>
              <a:gd name="T40" fmla="*/ 2147483646 w 16266"/>
              <a:gd name="T41" fmla="*/ 2147483646 h 14215"/>
              <a:gd name="T42" fmla="*/ 2147483646 w 16266"/>
              <a:gd name="T43" fmla="*/ 2147483646 h 14215"/>
              <a:gd name="T44" fmla="*/ 2147483646 w 16266"/>
              <a:gd name="T45" fmla="*/ 2147483646 h 14215"/>
              <a:gd name="T46" fmla="*/ 2147483646 w 16266"/>
              <a:gd name="T47" fmla="*/ 2147483646 h 14215"/>
              <a:gd name="T48" fmla="*/ 2147483646 w 16266"/>
              <a:gd name="T49" fmla="*/ 2147483646 h 14215"/>
              <a:gd name="T50" fmla="*/ 2147483646 w 16266"/>
              <a:gd name="T51" fmla="*/ 2147483646 h 14215"/>
              <a:gd name="T52" fmla="*/ 2147483646 w 16266"/>
              <a:gd name="T53" fmla="*/ 2147483646 h 14215"/>
              <a:gd name="T54" fmla="*/ 2147483646 w 16266"/>
              <a:gd name="T55" fmla="*/ 2147483646 h 14215"/>
              <a:gd name="T56" fmla="*/ 2147483646 w 16266"/>
              <a:gd name="T57" fmla="*/ 2147483646 h 14215"/>
              <a:gd name="T58" fmla="*/ 2147483646 w 16266"/>
              <a:gd name="T59" fmla="*/ 2147483646 h 14215"/>
              <a:gd name="T60" fmla="*/ 2147483646 w 16266"/>
              <a:gd name="T61" fmla="*/ 2147483646 h 14215"/>
              <a:gd name="T62" fmla="*/ 2147483646 w 16266"/>
              <a:gd name="T63" fmla="*/ 2147483646 h 14215"/>
              <a:gd name="T64" fmla="*/ 2147483646 w 16266"/>
              <a:gd name="T65" fmla="*/ 2147483646 h 14215"/>
              <a:gd name="T66" fmla="*/ 2147483646 w 16266"/>
              <a:gd name="T67" fmla="*/ 2147483646 h 14215"/>
              <a:gd name="T68" fmla="*/ 2147483646 w 16266"/>
              <a:gd name="T69" fmla="*/ 2147483646 h 14215"/>
              <a:gd name="T70" fmla="*/ 2147483646 w 16266"/>
              <a:gd name="T71" fmla="*/ 2147483646 h 14215"/>
              <a:gd name="T72" fmla="*/ 2147483646 w 16266"/>
              <a:gd name="T73" fmla="*/ 2147483646 h 14215"/>
              <a:gd name="T74" fmla="*/ 2147483646 w 16266"/>
              <a:gd name="T75" fmla="*/ 2147483646 h 14215"/>
              <a:gd name="T76" fmla="*/ 2147483646 w 16266"/>
              <a:gd name="T77" fmla="*/ 2147483646 h 14215"/>
              <a:gd name="T78" fmla="*/ 0 w 16266"/>
              <a:gd name="T79" fmla="*/ 2147483646 h 14215"/>
              <a:gd name="T80" fmla="*/ 0 w 16266"/>
              <a:gd name="T81" fmla="*/ 2147483646 h 14215"/>
              <a:gd name="T82" fmla="*/ 2147483646 w 16266"/>
              <a:gd name="T83" fmla="*/ 2147483646 h 14215"/>
              <a:gd name="T84" fmla="*/ 2147483646 w 16266"/>
              <a:gd name="T85" fmla="*/ 2147483646 h 14215"/>
              <a:gd name="T86" fmla="*/ 2147483646 w 16266"/>
              <a:gd name="T87" fmla="*/ 2147483646 h 14215"/>
              <a:gd name="T88" fmla="*/ 2147483646 w 16266"/>
              <a:gd name="T89" fmla="*/ 2147483646 h 14215"/>
              <a:gd name="T90" fmla="*/ 2147483646 w 16266"/>
              <a:gd name="T91" fmla="*/ 2147483646 h 14215"/>
              <a:gd name="T92" fmla="*/ 2147483646 w 16266"/>
              <a:gd name="T93" fmla="*/ 2147483646 h 14215"/>
              <a:gd name="T94" fmla="*/ 2147483646 w 16266"/>
              <a:gd name="T95" fmla="*/ 2147483646 h 14215"/>
              <a:gd name="T96" fmla="*/ 2147483646 w 16266"/>
              <a:gd name="T97" fmla="*/ 2147483646 h 14215"/>
              <a:gd name="T98" fmla="*/ 2147483646 w 16266"/>
              <a:gd name="T99" fmla="*/ 2147483646 h 14215"/>
              <a:gd name="T100" fmla="*/ 2147483646 w 16266"/>
              <a:gd name="T101" fmla="*/ 2147483646 h 14215"/>
              <a:gd name="T102" fmla="*/ 2147483646 w 16266"/>
              <a:gd name="T103" fmla="*/ 2147483646 h 14215"/>
              <a:gd name="T104" fmla="*/ 2147483646 w 16266"/>
              <a:gd name="T105" fmla="*/ 2147483646 h 14215"/>
              <a:gd name="T106" fmla="*/ 2147483646 w 16266"/>
              <a:gd name="T107" fmla="*/ 2147483646 h 14215"/>
              <a:gd name="T108" fmla="*/ 2147483646 w 16266"/>
              <a:gd name="T109" fmla="*/ 2147483646 h 14215"/>
              <a:gd name="T110" fmla="*/ 2147483646 w 16266"/>
              <a:gd name="T111" fmla="*/ 2147483646 h 14215"/>
              <a:gd name="T112" fmla="*/ 2147483646 w 16266"/>
              <a:gd name="T113" fmla="*/ 2147483646 h 14215"/>
              <a:gd name="T114" fmla="*/ 2147483646 w 16266"/>
              <a:gd name="T115" fmla="*/ 0 h 1421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6266"/>
              <a:gd name="T175" fmla="*/ 0 h 14215"/>
              <a:gd name="T176" fmla="*/ 16266 w 16266"/>
              <a:gd name="T177" fmla="*/ 14215 h 14215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6266" h="14215" extrusionOk="0">
                <a:moveTo>
                  <a:pt x="8597" y="4397"/>
                </a:moveTo>
                <a:lnTo>
                  <a:pt x="8719" y="4421"/>
                </a:lnTo>
                <a:lnTo>
                  <a:pt x="8866" y="4445"/>
                </a:lnTo>
                <a:lnTo>
                  <a:pt x="8988" y="4519"/>
                </a:lnTo>
                <a:lnTo>
                  <a:pt x="9085" y="4616"/>
                </a:lnTo>
                <a:lnTo>
                  <a:pt x="9159" y="4714"/>
                </a:lnTo>
                <a:lnTo>
                  <a:pt x="9208" y="4836"/>
                </a:lnTo>
                <a:lnTo>
                  <a:pt x="9232" y="4958"/>
                </a:lnTo>
                <a:lnTo>
                  <a:pt x="9256" y="5105"/>
                </a:lnTo>
                <a:lnTo>
                  <a:pt x="8963" y="8939"/>
                </a:lnTo>
                <a:lnTo>
                  <a:pt x="8939" y="9086"/>
                </a:lnTo>
                <a:lnTo>
                  <a:pt x="8890" y="9232"/>
                </a:lnTo>
                <a:lnTo>
                  <a:pt x="8817" y="9330"/>
                </a:lnTo>
                <a:lnTo>
                  <a:pt x="8719" y="9452"/>
                </a:lnTo>
                <a:lnTo>
                  <a:pt x="8597" y="9525"/>
                </a:lnTo>
                <a:lnTo>
                  <a:pt x="8475" y="9599"/>
                </a:lnTo>
                <a:lnTo>
                  <a:pt x="8353" y="9648"/>
                </a:lnTo>
                <a:lnTo>
                  <a:pt x="7913" y="9648"/>
                </a:lnTo>
                <a:lnTo>
                  <a:pt x="7791" y="9599"/>
                </a:lnTo>
                <a:lnTo>
                  <a:pt x="7669" y="9525"/>
                </a:lnTo>
                <a:lnTo>
                  <a:pt x="7547" y="9452"/>
                </a:lnTo>
                <a:lnTo>
                  <a:pt x="7449" y="9330"/>
                </a:lnTo>
                <a:lnTo>
                  <a:pt x="7376" y="9232"/>
                </a:lnTo>
                <a:lnTo>
                  <a:pt x="7327" y="9086"/>
                </a:lnTo>
                <a:lnTo>
                  <a:pt x="7303" y="8939"/>
                </a:lnTo>
                <a:lnTo>
                  <a:pt x="7010" y="5105"/>
                </a:lnTo>
                <a:lnTo>
                  <a:pt x="7034" y="4958"/>
                </a:lnTo>
                <a:lnTo>
                  <a:pt x="7058" y="4836"/>
                </a:lnTo>
                <a:lnTo>
                  <a:pt x="7107" y="4714"/>
                </a:lnTo>
                <a:lnTo>
                  <a:pt x="7180" y="4616"/>
                </a:lnTo>
                <a:lnTo>
                  <a:pt x="7278" y="4519"/>
                </a:lnTo>
                <a:lnTo>
                  <a:pt x="7400" y="4445"/>
                </a:lnTo>
                <a:lnTo>
                  <a:pt x="7547" y="4421"/>
                </a:lnTo>
                <a:lnTo>
                  <a:pt x="7669" y="4397"/>
                </a:lnTo>
                <a:lnTo>
                  <a:pt x="8597" y="4397"/>
                </a:lnTo>
                <a:close/>
                <a:moveTo>
                  <a:pt x="8133" y="10429"/>
                </a:moveTo>
                <a:lnTo>
                  <a:pt x="8328" y="10454"/>
                </a:lnTo>
                <a:lnTo>
                  <a:pt x="8499" y="10502"/>
                </a:lnTo>
                <a:lnTo>
                  <a:pt x="8670" y="10600"/>
                </a:lnTo>
                <a:lnTo>
                  <a:pt x="8817" y="10722"/>
                </a:lnTo>
                <a:lnTo>
                  <a:pt x="8939" y="10869"/>
                </a:lnTo>
                <a:lnTo>
                  <a:pt x="9037" y="11040"/>
                </a:lnTo>
                <a:lnTo>
                  <a:pt x="9085" y="11211"/>
                </a:lnTo>
                <a:lnTo>
                  <a:pt x="9110" y="11406"/>
                </a:lnTo>
                <a:lnTo>
                  <a:pt x="9085" y="11601"/>
                </a:lnTo>
                <a:lnTo>
                  <a:pt x="9037" y="11797"/>
                </a:lnTo>
                <a:lnTo>
                  <a:pt x="8939" y="11943"/>
                </a:lnTo>
                <a:lnTo>
                  <a:pt x="8817" y="12090"/>
                </a:lnTo>
                <a:lnTo>
                  <a:pt x="8670" y="12212"/>
                </a:lnTo>
                <a:lnTo>
                  <a:pt x="8499" y="12310"/>
                </a:lnTo>
                <a:lnTo>
                  <a:pt x="8328" y="12359"/>
                </a:lnTo>
                <a:lnTo>
                  <a:pt x="8133" y="12383"/>
                </a:lnTo>
                <a:lnTo>
                  <a:pt x="7938" y="12359"/>
                </a:lnTo>
                <a:lnTo>
                  <a:pt x="7742" y="12310"/>
                </a:lnTo>
                <a:lnTo>
                  <a:pt x="7596" y="12212"/>
                </a:lnTo>
                <a:lnTo>
                  <a:pt x="7449" y="12090"/>
                </a:lnTo>
                <a:lnTo>
                  <a:pt x="7327" y="11943"/>
                </a:lnTo>
                <a:lnTo>
                  <a:pt x="7229" y="11797"/>
                </a:lnTo>
                <a:lnTo>
                  <a:pt x="7180" y="11601"/>
                </a:lnTo>
                <a:lnTo>
                  <a:pt x="7156" y="11406"/>
                </a:lnTo>
                <a:lnTo>
                  <a:pt x="7180" y="11211"/>
                </a:lnTo>
                <a:lnTo>
                  <a:pt x="7229" y="11040"/>
                </a:lnTo>
                <a:lnTo>
                  <a:pt x="7327" y="10869"/>
                </a:lnTo>
                <a:lnTo>
                  <a:pt x="7449" y="10722"/>
                </a:lnTo>
                <a:lnTo>
                  <a:pt x="7596" y="10600"/>
                </a:lnTo>
                <a:lnTo>
                  <a:pt x="7742" y="10502"/>
                </a:lnTo>
                <a:lnTo>
                  <a:pt x="7938" y="10454"/>
                </a:lnTo>
                <a:lnTo>
                  <a:pt x="8133" y="10429"/>
                </a:lnTo>
                <a:close/>
                <a:moveTo>
                  <a:pt x="7986" y="0"/>
                </a:moveTo>
                <a:lnTo>
                  <a:pt x="7864" y="25"/>
                </a:lnTo>
                <a:lnTo>
                  <a:pt x="7742" y="74"/>
                </a:lnTo>
                <a:lnTo>
                  <a:pt x="7620" y="123"/>
                </a:lnTo>
                <a:lnTo>
                  <a:pt x="7522" y="196"/>
                </a:lnTo>
                <a:lnTo>
                  <a:pt x="7425" y="294"/>
                </a:lnTo>
                <a:lnTo>
                  <a:pt x="7327" y="391"/>
                </a:lnTo>
                <a:lnTo>
                  <a:pt x="7254" y="489"/>
                </a:lnTo>
                <a:lnTo>
                  <a:pt x="147" y="12700"/>
                </a:lnTo>
                <a:lnTo>
                  <a:pt x="73" y="12823"/>
                </a:lnTo>
                <a:lnTo>
                  <a:pt x="25" y="12945"/>
                </a:lnTo>
                <a:lnTo>
                  <a:pt x="0" y="13067"/>
                </a:lnTo>
                <a:lnTo>
                  <a:pt x="0" y="13213"/>
                </a:lnTo>
                <a:lnTo>
                  <a:pt x="0" y="13335"/>
                </a:lnTo>
                <a:lnTo>
                  <a:pt x="25" y="13458"/>
                </a:lnTo>
                <a:lnTo>
                  <a:pt x="73" y="13604"/>
                </a:lnTo>
                <a:lnTo>
                  <a:pt x="147" y="13726"/>
                </a:lnTo>
                <a:lnTo>
                  <a:pt x="220" y="13824"/>
                </a:lnTo>
                <a:lnTo>
                  <a:pt x="293" y="13922"/>
                </a:lnTo>
                <a:lnTo>
                  <a:pt x="391" y="14019"/>
                </a:lnTo>
                <a:lnTo>
                  <a:pt x="513" y="14093"/>
                </a:lnTo>
                <a:lnTo>
                  <a:pt x="635" y="14141"/>
                </a:lnTo>
                <a:lnTo>
                  <a:pt x="757" y="14190"/>
                </a:lnTo>
                <a:lnTo>
                  <a:pt x="879" y="14215"/>
                </a:lnTo>
                <a:lnTo>
                  <a:pt x="15387" y="14215"/>
                </a:lnTo>
                <a:lnTo>
                  <a:pt x="15509" y="14190"/>
                </a:lnTo>
                <a:lnTo>
                  <a:pt x="15631" y="14141"/>
                </a:lnTo>
                <a:lnTo>
                  <a:pt x="15753" y="14093"/>
                </a:lnTo>
                <a:lnTo>
                  <a:pt x="15875" y="14019"/>
                </a:lnTo>
                <a:lnTo>
                  <a:pt x="15973" y="13922"/>
                </a:lnTo>
                <a:lnTo>
                  <a:pt x="16046" y="13824"/>
                </a:lnTo>
                <a:lnTo>
                  <a:pt x="16119" y="13726"/>
                </a:lnTo>
                <a:lnTo>
                  <a:pt x="16193" y="13604"/>
                </a:lnTo>
                <a:lnTo>
                  <a:pt x="16241" y="13458"/>
                </a:lnTo>
                <a:lnTo>
                  <a:pt x="16266" y="13335"/>
                </a:lnTo>
                <a:lnTo>
                  <a:pt x="16266" y="13213"/>
                </a:lnTo>
                <a:lnTo>
                  <a:pt x="16266" y="13067"/>
                </a:lnTo>
                <a:lnTo>
                  <a:pt x="16241" y="12945"/>
                </a:lnTo>
                <a:lnTo>
                  <a:pt x="16193" y="12823"/>
                </a:lnTo>
                <a:lnTo>
                  <a:pt x="16119" y="12700"/>
                </a:lnTo>
                <a:lnTo>
                  <a:pt x="9012" y="489"/>
                </a:lnTo>
                <a:lnTo>
                  <a:pt x="8939" y="391"/>
                </a:lnTo>
                <a:lnTo>
                  <a:pt x="8841" y="294"/>
                </a:lnTo>
                <a:lnTo>
                  <a:pt x="8744" y="196"/>
                </a:lnTo>
                <a:lnTo>
                  <a:pt x="8646" y="123"/>
                </a:lnTo>
                <a:lnTo>
                  <a:pt x="8524" y="74"/>
                </a:lnTo>
                <a:lnTo>
                  <a:pt x="8402" y="25"/>
                </a:lnTo>
                <a:lnTo>
                  <a:pt x="8255" y="0"/>
                </a:lnTo>
                <a:lnTo>
                  <a:pt x="7986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lIns="82265" tIns="82265" rIns="82265" bIns="82265" anchor="ctr"/>
          <a:lstStyle/>
          <a:p>
            <a:pPr>
              <a:defRPr/>
            </a:pPr>
            <a:endParaRPr lang="es-ES" sz="1080">
              <a:solidFill>
                <a:srgbClr val="323F4F"/>
              </a:solidFill>
              <a:latin typeface="Calibri"/>
              <a:cs typeface="Arial" panose="020B0604020202020204" pitchFamily="34" charset="0"/>
            </a:endParaRPr>
          </a:p>
        </p:txBody>
      </p:sp>
      <p:pic>
        <p:nvPicPr>
          <p:cNvPr id="52" name="Picture 2" descr="Resultado de imagen para presupuesto">
            <a:extLst>
              <a:ext uri="{FF2B5EF4-FFF2-40B4-BE49-F238E27FC236}">
                <a16:creationId xmlns:a16="http://schemas.microsoft.com/office/drawing/2014/main" id="{CB72989E-B737-4A42-96E7-071C11FDA1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189" y="3703248"/>
            <a:ext cx="1046934" cy="647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CuadroTexto 52">
            <a:extLst>
              <a:ext uri="{FF2B5EF4-FFF2-40B4-BE49-F238E27FC236}">
                <a16:creationId xmlns:a16="http://schemas.microsoft.com/office/drawing/2014/main" id="{160FD6B5-9A90-4A28-8217-699A57E4ED35}"/>
              </a:ext>
            </a:extLst>
          </p:cNvPr>
          <p:cNvSpPr txBox="1"/>
          <p:nvPr userDrawn="1"/>
        </p:nvSpPr>
        <p:spPr>
          <a:xfrm>
            <a:off x="84930" y="5418761"/>
            <a:ext cx="12094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Riesgos/</a:t>
            </a:r>
          </a:p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Problemas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3B214B3F-91D4-427E-B146-AB7AC949B18F}"/>
              </a:ext>
            </a:extLst>
          </p:cNvPr>
          <p:cNvSpPr txBox="1"/>
          <p:nvPr userDrawn="1"/>
        </p:nvSpPr>
        <p:spPr>
          <a:xfrm>
            <a:off x="84930" y="4282169"/>
            <a:ext cx="1209449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Presupuesto</a:t>
            </a:r>
          </a:p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2020</a:t>
            </a:r>
          </a:p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080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EF974CC2-2C41-4631-A76B-DDB0367E1B0C}"/>
              </a:ext>
            </a:extLst>
          </p:cNvPr>
          <p:cNvSpPr txBox="1"/>
          <p:nvPr userDrawn="1"/>
        </p:nvSpPr>
        <p:spPr>
          <a:xfrm>
            <a:off x="84930" y="2886079"/>
            <a:ext cx="12094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Desviación y Avance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6639948E-EAE8-49DA-B0D5-C37FBDD47822}"/>
              </a:ext>
            </a:extLst>
          </p:cNvPr>
          <p:cNvSpPr txBox="1"/>
          <p:nvPr userDrawn="1"/>
        </p:nvSpPr>
        <p:spPr>
          <a:xfrm>
            <a:off x="52833" y="2038380"/>
            <a:ext cx="1273644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Fechas</a:t>
            </a:r>
          </a:p>
        </p:txBody>
      </p:sp>
      <p:pic>
        <p:nvPicPr>
          <p:cNvPr id="57" name="Imagen 56">
            <a:extLst>
              <a:ext uri="{FF2B5EF4-FFF2-40B4-BE49-F238E27FC236}">
                <a16:creationId xmlns:a16="http://schemas.microsoft.com/office/drawing/2014/main" id="{5B2A1514-6D7D-423A-9813-4DBA7DD6FB6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07" y="1496727"/>
            <a:ext cx="631097" cy="591604"/>
          </a:xfrm>
          <a:prstGeom prst="rect">
            <a:avLst/>
          </a:prstGeom>
        </p:spPr>
      </p:pic>
      <p:pic>
        <p:nvPicPr>
          <p:cNvPr id="58" name="Imagen 57">
            <a:extLst>
              <a:ext uri="{FF2B5EF4-FFF2-40B4-BE49-F238E27FC236}">
                <a16:creationId xmlns:a16="http://schemas.microsoft.com/office/drawing/2014/main" id="{46C81961-870C-4C3F-9267-E5EB631E514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98" y="2296538"/>
            <a:ext cx="691114" cy="647865"/>
          </a:xfrm>
          <a:prstGeom prst="rect">
            <a:avLst/>
          </a:prstGeom>
        </p:spPr>
      </p:pic>
      <p:sp>
        <p:nvSpPr>
          <p:cNvPr id="59" name="CuadroTexto 58">
            <a:extLst>
              <a:ext uri="{FF2B5EF4-FFF2-40B4-BE49-F238E27FC236}">
                <a16:creationId xmlns:a16="http://schemas.microsoft.com/office/drawing/2014/main" id="{7D5C60EF-1F10-41A7-A7C6-97F626E32DB2}"/>
              </a:ext>
            </a:extLst>
          </p:cNvPr>
          <p:cNvSpPr txBox="1"/>
          <p:nvPr userDrawn="1"/>
        </p:nvSpPr>
        <p:spPr>
          <a:xfrm>
            <a:off x="84930" y="880616"/>
            <a:ext cx="1209449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(Etapa)  </a:t>
            </a:r>
          </a:p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Nombre de Proyecto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717C3D2A-EFD5-400F-A233-FAA4B3111E40}"/>
              </a:ext>
            </a:extLst>
          </p:cNvPr>
          <p:cNvSpPr txBox="1"/>
          <p:nvPr userDrawn="1"/>
        </p:nvSpPr>
        <p:spPr>
          <a:xfrm>
            <a:off x="349086" y="6608616"/>
            <a:ext cx="4513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RUN</a:t>
            </a:r>
            <a:endParaRPr kumimoji="0" lang="es-PE" sz="945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sp>
        <p:nvSpPr>
          <p:cNvPr id="61" name="Forma libre 4344" descr="Icono de llave inglesa. ">
            <a:extLst>
              <a:ext uri="{FF2B5EF4-FFF2-40B4-BE49-F238E27FC236}">
                <a16:creationId xmlns:a16="http://schemas.microsoft.com/office/drawing/2014/main" id="{700996D1-B679-48F7-A785-BFC2C6E3F1BF}"/>
              </a:ext>
            </a:extLst>
          </p:cNvPr>
          <p:cNvSpPr>
            <a:spLocks/>
          </p:cNvSpPr>
          <p:nvPr userDrawn="1"/>
        </p:nvSpPr>
        <p:spPr bwMode="auto">
          <a:xfrm>
            <a:off x="264161" y="6654605"/>
            <a:ext cx="138223" cy="129573"/>
          </a:xfrm>
          <a:custGeom>
            <a:avLst/>
            <a:gdLst>
              <a:gd name="T0" fmla="*/ 853 w 886"/>
              <a:gd name="T1" fmla="*/ 137 h 886"/>
              <a:gd name="T2" fmla="*/ 842 w 886"/>
              <a:gd name="T3" fmla="*/ 134 h 886"/>
              <a:gd name="T4" fmla="*/ 833 w 886"/>
              <a:gd name="T5" fmla="*/ 138 h 886"/>
              <a:gd name="T6" fmla="*/ 646 w 886"/>
              <a:gd name="T7" fmla="*/ 172 h 886"/>
              <a:gd name="T8" fmla="*/ 754 w 886"/>
              <a:gd name="T9" fmla="*/ 46 h 886"/>
              <a:gd name="T10" fmla="*/ 754 w 886"/>
              <a:gd name="T11" fmla="*/ 37 h 886"/>
              <a:gd name="T12" fmla="*/ 747 w 886"/>
              <a:gd name="T13" fmla="*/ 29 h 886"/>
              <a:gd name="T14" fmla="*/ 704 w 886"/>
              <a:gd name="T15" fmla="*/ 12 h 886"/>
              <a:gd name="T16" fmla="*/ 659 w 886"/>
              <a:gd name="T17" fmla="*/ 2 h 886"/>
              <a:gd name="T18" fmla="*/ 615 w 886"/>
              <a:gd name="T19" fmla="*/ 0 h 886"/>
              <a:gd name="T20" fmla="*/ 577 w 886"/>
              <a:gd name="T21" fmla="*/ 6 h 886"/>
              <a:gd name="T22" fmla="*/ 539 w 886"/>
              <a:gd name="T23" fmla="*/ 15 h 886"/>
              <a:gd name="T24" fmla="*/ 505 w 886"/>
              <a:gd name="T25" fmla="*/ 31 h 886"/>
              <a:gd name="T26" fmla="*/ 473 w 886"/>
              <a:gd name="T27" fmla="*/ 52 h 886"/>
              <a:gd name="T28" fmla="*/ 443 w 886"/>
              <a:gd name="T29" fmla="*/ 76 h 886"/>
              <a:gd name="T30" fmla="*/ 405 w 886"/>
              <a:gd name="T31" fmla="*/ 124 h 886"/>
              <a:gd name="T32" fmla="*/ 380 w 886"/>
              <a:gd name="T33" fmla="*/ 178 h 886"/>
              <a:gd name="T34" fmla="*/ 368 w 886"/>
              <a:gd name="T35" fmla="*/ 235 h 886"/>
              <a:gd name="T36" fmla="*/ 368 w 886"/>
              <a:gd name="T37" fmla="*/ 293 h 886"/>
              <a:gd name="T38" fmla="*/ 382 w 886"/>
              <a:gd name="T39" fmla="*/ 351 h 886"/>
              <a:gd name="T40" fmla="*/ 21 w 886"/>
              <a:gd name="T41" fmla="*/ 738 h 886"/>
              <a:gd name="T42" fmla="*/ 7 w 886"/>
              <a:gd name="T43" fmla="*/ 762 h 886"/>
              <a:gd name="T44" fmla="*/ 1 w 886"/>
              <a:gd name="T45" fmla="*/ 787 h 886"/>
              <a:gd name="T46" fmla="*/ 2 w 886"/>
              <a:gd name="T47" fmla="*/ 813 h 886"/>
              <a:gd name="T48" fmla="*/ 11 w 886"/>
              <a:gd name="T49" fmla="*/ 838 h 886"/>
              <a:gd name="T50" fmla="*/ 27 w 886"/>
              <a:gd name="T51" fmla="*/ 860 h 886"/>
              <a:gd name="T52" fmla="*/ 48 w 886"/>
              <a:gd name="T53" fmla="*/ 875 h 886"/>
              <a:gd name="T54" fmla="*/ 73 w 886"/>
              <a:gd name="T55" fmla="*/ 884 h 886"/>
              <a:gd name="T56" fmla="*/ 99 w 886"/>
              <a:gd name="T57" fmla="*/ 885 h 886"/>
              <a:gd name="T58" fmla="*/ 125 w 886"/>
              <a:gd name="T59" fmla="*/ 879 h 886"/>
              <a:gd name="T60" fmla="*/ 148 w 886"/>
              <a:gd name="T61" fmla="*/ 866 h 886"/>
              <a:gd name="T62" fmla="*/ 530 w 886"/>
              <a:gd name="T63" fmla="*/ 502 h 886"/>
              <a:gd name="T64" fmla="*/ 570 w 886"/>
              <a:gd name="T65" fmla="*/ 515 h 886"/>
              <a:gd name="T66" fmla="*/ 612 w 886"/>
              <a:gd name="T67" fmla="*/ 520 h 886"/>
              <a:gd name="T68" fmla="*/ 626 w 886"/>
              <a:gd name="T69" fmla="*/ 520 h 886"/>
              <a:gd name="T70" fmla="*/ 664 w 886"/>
              <a:gd name="T71" fmla="*/ 518 h 886"/>
              <a:gd name="T72" fmla="*/ 702 w 886"/>
              <a:gd name="T73" fmla="*/ 509 h 886"/>
              <a:gd name="T74" fmla="*/ 737 w 886"/>
              <a:gd name="T75" fmla="*/ 496 h 886"/>
              <a:gd name="T76" fmla="*/ 769 w 886"/>
              <a:gd name="T77" fmla="*/ 477 h 886"/>
              <a:gd name="T78" fmla="*/ 800 w 886"/>
              <a:gd name="T79" fmla="*/ 454 h 886"/>
              <a:gd name="T80" fmla="*/ 837 w 886"/>
              <a:gd name="T81" fmla="*/ 413 h 886"/>
              <a:gd name="T82" fmla="*/ 867 w 886"/>
              <a:gd name="T83" fmla="*/ 360 h 886"/>
              <a:gd name="T84" fmla="*/ 883 w 886"/>
              <a:gd name="T85" fmla="*/ 301 h 886"/>
              <a:gd name="T86" fmla="*/ 885 w 886"/>
              <a:gd name="T87" fmla="*/ 241 h 886"/>
              <a:gd name="T88" fmla="*/ 873 w 886"/>
              <a:gd name="T89" fmla="*/ 181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86" h="886">
                <a:moveTo>
                  <a:pt x="857" y="143"/>
                </a:moveTo>
                <a:lnTo>
                  <a:pt x="855" y="139"/>
                </a:lnTo>
                <a:lnTo>
                  <a:pt x="853" y="137"/>
                </a:lnTo>
                <a:lnTo>
                  <a:pt x="849" y="135"/>
                </a:lnTo>
                <a:lnTo>
                  <a:pt x="846" y="133"/>
                </a:lnTo>
                <a:lnTo>
                  <a:pt x="842" y="134"/>
                </a:lnTo>
                <a:lnTo>
                  <a:pt x="839" y="135"/>
                </a:lnTo>
                <a:lnTo>
                  <a:pt x="836" y="136"/>
                </a:lnTo>
                <a:lnTo>
                  <a:pt x="833" y="138"/>
                </a:lnTo>
                <a:lnTo>
                  <a:pt x="712" y="259"/>
                </a:lnTo>
                <a:lnTo>
                  <a:pt x="646" y="259"/>
                </a:lnTo>
                <a:lnTo>
                  <a:pt x="646" y="172"/>
                </a:lnTo>
                <a:lnTo>
                  <a:pt x="751" y="53"/>
                </a:lnTo>
                <a:lnTo>
                  <a:pt x="753" y="49"/>
                </a:lnTo>
                <a:lnTo>
                  <a:pt x="754" y="46"/>
                </a:lnTo>
                <a:lnTo>
                  <a:pt x="755" y="43"/>
                </a:lnTo>
                <a:lnTo>
                  <a:pt x="755" y="39"/>
                </a:lnTo>
                <a:lnTo>
                  <a:pt x="754" y="37"/>
                </a:lnTo>
                <a:lnTo>
                  <a:pt x="752" y="33"/>
                </a:lnTo>
                <a:lnTo>
                  <a:pt x="750" y="31"/>
                </a:lnTo>
                <a:lnTo>
                  <a:pt x="747" y="29"/>
                </a:lnTo>
                <a:lnTo>
                  <a:pt x="733" y="23"/>
                </a:lnTo>
                <a:lnTo>
                  <a:pt x="719" y="16"/>
                </a:lnTo>
                <a:lnTo>
                  <a:pt x="704" y="12"/>
                </a:lnTo>
                <a:lnTo>
                  <a:pt x="689" y="8"/>
                </a:lnTo>
                <a:lnTo>
                  <a:pt x="674" y="5"/>
                </a:lnTo>
                <a:lnTo>
                  <a:pt x="659" y="2"/>
                </a:lnTo>
                <a:lnTo>
                  <a:pt x="643" y="1"/>
                </a:lnTo>
                <a:lnTo>
                  <a:pt x="628" y="0"/>
                </a:lnTo>
                <a:lnTo>
                  <a:pt x="615" y="0"/>
                </a:lnTo>
                <a:lnTo>
                  <a:pt x="602" y="1"/>
                </a:lnTo>
                <a:lnTo>
                  <a:pt x="589" y="3"/>
                </a:lnTo>
                <a:lnTo>
                  <a:pt x="577" y="6"/>
                </a:lnTo>
                <a:lnTo>
                  <a:pt x="564" y="8"/>
                </a:lnTo>
                <a:lnTo>
                  <a:pt x="552" y="11"/>
                </a:lnTo>
                <a:lnTo>
                  <a:pt x="539" y="15"/>
                </a:lnTo>
                <a:lnTo>
                  <a:pt x="527" y="19"/>
                </a:lnTo>
                <a:lnTo>
                  <a:pt x="516" y="25"/>
                </a:lnTo>
                <a:lnTo>
                  <a:pt x="505" y="31"/>
                </a:lnTo>
                <a:lnTo>
                  <a:pt x="493" y="37"/>
                </a:lnTo>
                <a:lnTo>
                  <a:pt x="482" y="44"/>
                </a:lnTo>
                <a:lnTo>
                  <a:pt x="473" y="52"/>
                </a:lnTo>
                <a:lnTo>
                  <a:pt x="462" y="59"/>
                </a:lnTo>
                <a:lnTo>
                  <a:pt x="452" y="68"/>
                </a:lnTo>
                <a:lnTo>
                  <a:pt x="443" y="76"/>
                </a:lnTo>
                <a:lnTo>
                  <a:pt x="429" y="91"/>
                </a:lnTo>
                <a:lnTo>
                  <a:pt x="416" y="107"/>
                </a:lnTo>
                <a:lnTo>
                  <a:pt x="405" y="124"/>
                </a:lnTo>
                <a:lnTo>
                  <a:pt x="396" y="141"/>
                </a:lnTo>
                <a:lnTo>
                  <a:pt x="387" y="160"/>
                </a:lnTo>
                <a:lnTo>
                  <a:pt x="380" y="178"/>
                </a:lnTo>
                <a:lnTo>
                  <a:pt x="374" y="196"/>
                </a:lnTo>
                <a:lnTo>
                  <a:pt x="370" y="215"/>
                </a:lnTo>
                <a:lnTo>
                  <a:pt x="368" y="235"/>
                </a:lnTo>
                <a:lnTo>
                  <a:pt x="366" y="254"/>
                </a:lnTo>
                <a:lnTo>
                  <a:pt x="367" y="274"/>
                </a:lnTo>
                <a:lnTo>
                  <a:pt x="368" y="293"/>
                </a:lnTo>
                <a:lnTo>
                  <a:pt x="371" y="313"/>
                </a:lnTo>
                <a:lnTo>
                  <a:pt x="376" y="332"/>
                </a:lnTo>
                <a:lnTo>
                  <a:pt x="382" y="351"/>
                </a:lnTo>
                <a:lnTo>
                  <a:pt x="390" y="369"/>
                </a:lnTo>
                <a:lnTo>
                  <a:pt x="27" y="732"/>
                </a:lnTo>
                <a:lnTo>
                  <a:pt x="21" y="738"/>
                </a:lnTo>
                <a:lnTo>
                  <a:pt x="16" y="746"/>
                </a:lnTo>
                <a:lnTo>
                  <a:pt x="11" y="753"/>
                </a:lnTo>
                <a:lnTo>
                  <a:pt x="7" y="762"/>
                </a:lnTo>
                <a:lnTo>
                  <a:pt x="4" y="769"/>
                </a:lnTo>
                <a:lnTo>
                  <a:pt x="2" y="778"/>
                </a:lnTo>
                <a:lnTo>
                  <a:pt x="1" y="787"/>
                </a:lnTo>
                <a:lnTo>
                  <a:pt x="0" y="796"/>
                </a:lnTo>
                <a:lnTo>
                  <a:pt x="1" y="805"/>
                </a:lnTo>
                <a:lnTo>
                  <a:pt x="2" y="813"/>
                </a:lnTo>
                <a:lnTo>
                  <a:pt x="4" y="822"/>
                </a:lnTo>
                <a:lnTo>
                  <a:pt x="7" y="830"/>
                </a:lnTo>
                <a:lnTo>
                  <a:pt x="11" y="838"/>
                </a:lnTo>
                <a:lnTo>
                  <a:pt x="15" y="845"/>
                </a:lnTo>
                <a:lnTo>
                  <a:pt x="20" y="853"/>
                </a:lnTo>
                <a:lnTo>
                  <a:pt x="27" y="860"/>
                </a:lnTo>
                <a:lnTo>
                  <a:pt x="33" y="866"/>
                </a:lnTo>
                <a:lnTo>
                  <a:pt x="41" y="871"/>
                </a:lnTo>
                <a:lnTo>
                  <a:pt x="48" y="875"/>
                </a:lnTo>
                <a:lnTo>
                  <a:pt x="55" y="879"/>
                </a:lnTo>
                <a:lnTo>
                  <a:pt x="64" y="882"/>
                </a:lnTo>
                <a:lnTo>
                  <a:pt x="73" y="884"/>
                </a:lnTo>
                <a:lnTo>
                  <a:pt x="81" y="885"/>
                </a:lnTo>
                <a:lnTo>
                  <a:pt x="91" y="886"/>
                </a:lnTo>
                <a:lnTo>
                  <a:pt x="99" y="885"/>
                </a:lnTo>
                <a:lnTo>
                  <a:pt x="108" y="884"/>
                </a:lnTo>
                <a:lnTo>
                  <a:pt x="116" y="882"/>
                </a:lnTo>
                <a:lnTo>
                  <a:pt x="125" y="879"/>
                </a:lnTo>
                <a:lnTo>
                  <a:pt x="133" y="875"/>
                </a:lnTo>
                <a:lnTo>
                  <a:pt x="140" y="871"/>
                </a:lnTo>
                <a:lnTo>
                  <a:pt x="148" y="866"/>
                </a:lnTo>
                <a:lnTo>
                  <a:pt x="154" y="860"/>
                </a:lnTo>
                <a:lnTo>
                  <a:pt x="517" y="497"/>
                </a:lnTo>
                <a:lnTo>
                  <a:pt x="530" y="502"/>
                </a:lnTo>
                <a:lnTo>
                  <a:pt x="543" y="507"/>
                </a:lnTo>
                <a:lnTo>
                  <a:pt x="556" y="512"/>
                </a:lnTo>
                <a:lnTo>
                  <a:pt x="570" y="515"/>
                </a:lnTo>
                <a:lnTo>
                  <a:pt x="584" y="517"/>
                </a:lnTo>
                <a:lnTo>
                  <a:pt x="598" y="519"/>
                </a:lnTo>
                <a:lnTo>
                  <a:pt x="612" y="520"/>
                </a:lnTo>
                <a:lnTo>
                  <a:pt x="626" y="520"/>
                </a:lnTo>
                <a:lnTo>
                  <a:pt x="626" y="520"/>
                </a:lnTo>
                <a:lnTo>
                  <a:pt x="626" y="520"/>
                </a:lnTo>
                <a:lnTo>
                  <a:pt x="639" y="520"/>
                </a:lnTo>
                <a:lnTo>
                  <a:pt x="651" y="519"/>
                </a:lnTo>
                <a:lnTo>
                  <a:pt x="664" y="518"/>
                </a:lnTo>
                <a:lnTo>
                  <a:pt x="677" y="516"/>
                </a:lnTo>
                <a:lnTo>
                  <a:pt x="689" y="513"/>
                </a:lnTo>
                <a:lnTo>
                  <a:pt x="702" y="509"/>
                </a:lnTo>
                <a:lnTo>
                  <a:pt x="714" y="505"/>
                </a:lnTo>
                <a:lnTo>
                  <a:pt x="725" y="501"/>
                </a:lnTo>
                <a:lnTo>
                  <a:pt x="737" y="496"/>
                </a:lnTo>
                <a:lnTo>
                  <a:pt x="748" y="490"/>
                </a:lnTo>
                <a:lnTo>
                  <a:pt x="758" y="484"/>
                </a:lnTo>
                <a:lnTo>
                  <a:pt x="769" y="477"/>
                </a:lnTo>
                <a:lnTo>
                  <a:pt x="780" y="470"/>
                </a:lnTo>
                <a:lnTo>
                  <a:pt x="791" y="462"/>
                </a:lnTo>
                <a:lnTo>
                  <a:pt x="800" y="454"/>
                </a:lnTo>
                <a:lnTo>
                  <a:pt x="810" y="444"/>
                </a:lnTo>
                <a:lnTo>
                  <a:pt x="824" y="429"/>
                </a:lnTo>
                <a:lnTo>
                  <a:pt x="837" y="413"/>
                </a:lnTo>
                <a:lnTo>
                  <a:pt x="848" y="396"/>
                </a:lnTo>
                <a:lnTo>
                  <a:pt x="858" y="378"/>
                </a:lnTo>
                <a:lnTo>
                  <a:pt x="867" y="360"/>
                </a:lnTo>
                <a:lnTo>
                  <a:pt x="873" y="340"/>
                </a:lnTo>
                <a:lnTo>
                  <a:pt x="878" y="321"/>
                </a:lnTo>
                <a:lnTo>
                  <a:pt x="883" y="301"/>
                </a:lnTo>
                <a:lnTo>
                  <a:pt x="885" y="282"/>
                </a:lnTo>
                <a:lnTo>
                  <a:pt x="886" y="261"/>
                </a:lnTo>
                <a:lnTo>
                  <a:pt x="885" y="241"/>
                </a:lnTo>
                <a:lnTo>
                  <a:pt x="883" y="221"/>
                </a:lnTo>
                <a:lnTo>
                  <a:pt x="878" y="200"/>
                </a:lnTo>
                <a:lnTo>
                  <a:pt x="873" y="181"/>
                </a:lnTo>
                <a:lnTo>
                  <a:pt x="865" y="162"/>
                </a:lnTo>
                <a:lnTo>
                  <a:pt x="857" y="14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2279" tIns="41139" rIns="82279" bIns="41139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s-ES" sz="1620"/>
          </a:p>
        </p:txBody>
      </p:sp>
      <p:grpSp>
        <p:nvGrpSpPr>
          <p:cNvPr id="62" name="Grupo 61" descr="Icono de dinero. ">
            <a:extLst>
              <a:ext uri="{FF2B5EF4-FFF2-40B4-BE49-F238E27FC236}">
                <a16:creationId xmlns:a16="http://schemas.microsoft.com/office/drawing/2014/main" id="{1C8A0DED-851C-4E12-BBDD-12E7727D4B03}"/>
              </a:ext>
            </a:extLst>
          </p:cNvPr>
          <p:cNvGrpSpPr/>
          <p:nvPr userDrawn="1"/>
        </p:nvGrpSpPr>
        <p:grpSpPr>
          <a:xfrm>
            <a:off x="776386" y="6638409"/>
            <a:ext cx="172778" cy="161966"/>
            <a:chOff x="3746500" y="1344613"/>
            <a:chExt cx="285750" cy="287338"/>
          </a:xfrm>
          <a:solidFill>
            <a:schemeClr val="tx1"/>
          </a:solidFill>
        </p:grpSpPr>
        <p:sp>
          <p:nvSpPr>
            <p:cNvPr id="63" name="Forma libre 497">
              <a:extLst>
                <a:ext uri="{FF2B5EF4-FFF2-40B4-BE49-F238E27FC236}">
                  <a16:creationId xmlns:a16="http://schemas.microsoft.com/office/drawing/2014/main" id="{9F7230DE-BD7B-4248-AF8C-AC59680CF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4" name="Forma libre 498">
              <a:extLst>
                <a:ext uri="{FF2B5EF4-FFF2-40B4-BE49-F238E27FC236}">
                  <a16:creationId xmlns:a16="http://schemas.microsoft.com/office/drawing/2014/main" id="{CFAED99D-8B32-4899-A7E8-6BA38D5A9A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5" name="Forma libre 499">
              <a:extLst>
                <a:ext uri="{FF2B5EF4-FFF2-40B4-BE49-F238E27FC236}">
                  <a16:creationId xmlns:a16="http://schemas.microsoft.com/office/drawing/2014/main" id="{C31DB79B-0EC4-49CB-83C6-B264628E9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6" name="Forma libre 500">
              <a:extLst>
                <a:ext uri="{FF2B5EF4-FFF2-40B4-BE49-F238E27FC236}">
                  <a16:creationId xmlns:a16="http://schemas.microsoft.com/office/drawing/2014/main" id="{178903B9-85E9-434A-8934-398D372ED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7" name="Forma libre 501">
              <a:extLst>
                <a:ext uri="{FF2B5EF4-FFF2-40B4-BE49-F238E27FC236}">
                  <a16:creationId xmlns:a16="http://schemas.microsoft.com/office/drawing/2014/main" id="{415556CA-A84C-4A91-AE50-2CE8459AB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8" name="Forma libre 502">
              <a:extLst>
                <a:ext uri="{FF2B5EF4-FFF2-40B4-BE49-F238E27FC236}">
                  <a16:creationId xmlns:a16="http://schemas.microsoft.com/office/drawing/2014/main" id="{8D6319F2-1B32-4074-8A84-46A905ADE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9" name="Forma libre 503">
              <a:extLst>
                <a:ext uri="{FF2B5EF4-FFF2-40B4-BE49-F238E27FC236}">
                  <a16:creationId xmlns:a16="http://schemas.microsoft.com/office/drawing/2014/main" id="{4AA66505-3286-4613-A07D-18A17BC59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0" name="Forma libre 504">
              <a:extLst>
                <a:ext uri="{FF2B5EF4-FFF2-40B4-BE49-F238E27FC236}">
                  <a16:creationId xmlns:a16="http://schemas.microsoft.com/office/drawing/2014/main" id="{DE8B213B-3B2C-4847-A6DB-0D717C3D8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</p:grpSp>
      <p:sp>
        <p:nvSpPr>
          <p:cNvPr id="71" name="CuadroTexto 70">
            <a:extLst>
              <a:ext uri="{FF2B5EF4-FFF2-40B4-BE49-F238E27FC236}">
                <a16:creationId xmlns:a16="http://schemas.microsoft.com/office/drawing/2014/main" id="{067697C8-F2AC-41A5-A4D0-335C2FDC9DC8}"/>
              </a:ext>
            </a:extLst>
          </p:cNvPr>
          <p:cNvSpPr txBox="1"/>
          <p:nvPr userDrawn="1"/>
        </p:nvSpPr>
        <p:spPr>
          <a:xfrm>
            <a:off x="895866" y="6608616"/>
            <a:ext cx="5774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GROW</a:t>
            </a:r>
            <a:endParaRPr kumimoji="0" lang="es-PE" sz="945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grpSp>
        <p:nvGrpSpPr>
          <p:cNvPr id="72" name="Grupo 71" descr="Icono de cajas. ">
            <a:extLst>
              <a:ext uri="{FF2B5EF4-FFF2-40B4-BE49-F238E27FC236}">
                <a16:creationId xmlns:a16="http://schemas.microsoft.com/office/drawing/2014/main" id="{50918415-C66F-4B49-ADBB-DED52E71BCC5}"/>
              </a:ext>
            </a:extLst>
          </p:cNvPr>
          <p:cNvGrpSpPr/>
          <p:nvPr userDrawn="1"/>
        </p:nvGrpSpPr>
        <p:grpSpPr>
          <a:xfrm>
            <a:off x="1414211" y="6638409"/>
            <a:ext cx="172778" cy="161966"/>
            <a:chOff x="5465763" y="3068638"/>
            <a:chExt cx="287337" cy="285750"/>
          </a:xfrm>
          <a:solidFill>
            <a:schemeClr val="tx1"/>
          </a:solidFill>
        </p:grpSpPr>
        <p:sp>
          <p:nvSpPr>
            <p:cNvPr id="73" name="Forma libre 617">
              <a:extLst>
                <a:ext uri="{FF2B5EF4-FFF2-40B4-BE49-F238E27FC236}">
                  <a16:creationId xmlns:a16="http://schemas.microsoft.com/office/drawing/2014/main" id="{72D32099-DA02-4100-B97D-FC5576757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188" y="3068638"/>
              <a:ext cx="119063" cy="38100"/>
            </a:xfrm>
            <a:custGeom>
              <a:avLst/>
              <a:gdLst>
                <a:gd name="T0" fmla="*/ 375 w 375"/>
                <a:gd name="T1" fmla="*/ 62 h 120"/>
                <a:gd name="T2" fmla="*/ 374 w 375"/>
                <a:gd name="T3" fmla="*/ 62 h 120"/>
                <a:gd name="T4" fmla="*/ 373 w 375"/>
                <a:gd name="T5" fmla="*/ 61 h 120"/>
                <a:gd name="T6" fmla="*/ 193 w 375"/>
                <a:gd name="T7" fmla="*/ 1 h 120"/>
                <a:gd name="T8" fmla="*/ 188 w 375"/>
                <a:gd name="T9" fmla="*/ 0 h 120"/>
                <a:gd name="T10" fmla="*/ 183 w 375"/>
                <a:gd name="T11" fmla="*/ 1 h 120"/>
                <a:gd name="T12" fmla="*/ 2 w 375"/>
                <a:gd name="T13" fmla="*/ 61 h 120"/>
                <a:gd name="T14" fmla="*/ 1 w 375"/>
                <a:gd name="T15" fmla="*/ 62 h 120"/>
                <a:gd name="T16" fmla="*/ 0 w 375"/>
                <a:gd name="T17" fmla="*/ 62 h 120"/>
                <a:gd name="T18" fmla="*/ 188 w 375"/>
                <a:gd name="T19" fmla="*/ 120 h 120"/>
                <a:gd name="T20" fmla="*/ 375 w 375"/>
                <a:gd name="T21" fmla="*/ 6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" h="120">
                  <a:moveTo>
                    <a:pt x="375" y="62"/>
                  </a:moveTo>
                  <a:lnTo>
                    <a:pt x="374" y="62"/>
                  </a:lnTo>
                  <a:lnTo>
                    <a:pt x="373" y="61"/>
                  </a:lnTo>
                  <a:lnTo>
                    <a:pt x="193" y="1"/>
                  </a:lnTo>
                  <a:lnTo>
                    <a:pt x="188" y="0"/>
                  </a:lnTo>
                  <a:lnTo>
                    <a:pt x="183" y="1"/>
                  </a:lnTo>
                  <a:lnTo>
                    <a:pt x="2" y="61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188" y="120"/>
                  </a:lnTo>
                  <a:lnTo>
                    <a:pt x="375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4" name="Forma libre 618">
              <a:extLst>
                <a:ext uri="{FF2B5EF4-FFF2-40B4-BE49-F238E27FC236}">
                  <a16:creationId xmlns:a16="http://schemas.microsoft.com/office/drawing/2014/main" id="{362BF726-44C5-4D26-9B16-03CB9AD92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9275" y="3097213"/>
              <a:ext cx="57150" cy="93663"/>
            </a:xfrm>
            <a:custGeom>
              <a:avLst/>
              <a:gdLst>
                <a:gd name="T0" fmla="*/ 181 w 181"/>
                <a:gd name="T1" fmla="*/ 210 h 295"/>
                <a:gd name="T2" fmla="*/ 181 w 181"/>
                <a:gd name="T3" fmla="*/ 0 h 295"/>
                <a:gd name="T4" fmla="*/ 0 w 181"/>
                <a:gd name="T5" fmla="*/ 56 h 295"/>
                <a:gd name="T6" fmla="*/ 0 w 181"/>
                <a:gd name="T7" fmla="*/ 295 h 295"/>
                <a:gd name="T8" fmla="*/ 171 w 181"/>
                <a:gd name="T9" fmla="*/ 224 h 295"/>
                <a:gd name="T10" fmla="*/ 174 w 181"/>
                <a:gd name="T11" fmla="*/ 222 h 295"/>
                <a:gd name="T12" fmla="*/ 178 w 181"/>
                <a:gd name="T13" fmla="*/ 219 h 295"/>
                <a:gd name="T14" fmla="*/ 180 w 181"/>
                <a:gd name="T15" fmla="*/ 215 h 295"/>
                <a:gd name="T16" fmla="*/ 181 w 181"/>
                <a:gd name="T17" fmla="*/ 21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181" y="210"/>
                  </a:moveTo>
                  <a:lnTo>
                    <a:pt x="181" y="0"/>
                  </a:lnTo>
                  <a:lnTo>
                    <a:pt x="0" y="56"/>
                  </a:lnTo>
                  <a:lnTo>
                    <a:pt x="0" y="295"/>
                  </a:lnTo>
                  <a:lnTo>
                    <a:pt x="171" y="224"/>
                  </a:lnTo>
                  <a:lnTo>
                    <a:pt x="174" y="222"/>
                  </a:lnTo>
                  <a:lnTo>
                    <a:pt x="178" y="219"/>
                  </a:lnTo>
                  <a:lnTo>
                    <a:pt x="180" y="215"/>
                  </a:lnTo>
                  <a:lnTo>
                    <a:pt x="181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5" name="Forma libre 619">
              <a:extLst>
                <a:ext uri="{FF2B5EF4-FFF2-40B4-BE49-F238E27FC236}">
                  <a16:creationId xmlns:a16="http://schemas.microsoft.com/office/drawing/2014/main" id="{421A3636-13B2-46E6-BB9D-5971A2454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097213"/>
              <a:ext cx="57150" cy="93663"/>
            </a:xfrm>
            <a:custGeom>
              <a:avLst/>
              <a:gdLst>
                <a:gd name="T0" fmla="*/ 9 w 181"/>
                <a:gd name="T1" fmla="*/ 224 h 295"/>
                <a:gd name="T2" fmla="*/ 181 w 181"/>
                <a:gd name="T3" fmla="*/ 295 h 295"/>
                <a:gd name="T4" fmla="*/ 181 w 181"/>
                <a:gd name="T5" fmla="*/ 56 h 295"/>
                <a:gd name="T6" fmla="*/ 0 w 181"/>
                <a:gd name="T7" fmla="*/ 0 h 295"/>
                <a:gd name="T8" fmla="*/ 0 w 181"/>
                <a:gd name="T9" fmla="*/ 210 h 295"/>
                <a:gd name="T10" fmla="*/ 0 w 181"/>
                <a:gd name="T11" fmla="*/ 215 h 295"/>
                <a:gd name="T12" fmla="*/ 2 w 181"/>
                <a:gd name="T13" fmla="*/ 219 h 295"/>
                <a:gd name="T14" fmla="*/ 6 w 181"/>
                <a:gd name="T15" fmla="*/ 222 h 295"/>
                <a:gd name="T16" fmla="*/ 9 w 181"/>
                <a:gd name="T17" fmla="*/ 2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9" y="224"/>
                  </a:moveTo>
                  <a:lnTo>
                    <a:pt x="181" y="295"/>
                  </a:lnTo>
                  <a:lnTo>
                    <a:pt x="181" y="56"/>
                  </a:lnTo>
                  <a:lnTo>
                    <a:pt x="0" y="0"/>
                  </a:lnTo>
                  <a:lnTo>
                    <a:pt x="0" y="210"/>
                  </a:lnTo>
                  <a:lnTo>
                    <a:pt x="0" y="215"/>
                  </a:lnTo>
                  <a:lnTo>
                    <a:pt x="2" y="219"/>
                  </a:lnTo>
                  <a:lnTo>
                    <a:pt x="6" y="222"/>
                  </a:lnTo>
                  <a:lnTo>
                    <a:pt x="9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6" name="Forma libre 620">
              <a:extLst>
                <a:ext uri="{FF2B5EF4-FFF2-40B4-BE49-F238E27FC236}">
                  <a16:creationId xmlns:a16="http://schemas.microsoft.com/office/drawing/2014/main" id="{70606A0B-A9AD-4762-A082-8638708C4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475" y="3217863"/>
              <a:ext cx="47625" cy="77788"/>
            </a:xfrm>
            <a:custGeom>
              <a:avLst/>
              <a:gdLst>
                <a:gd name="T0" fmla="*/ 0 w 150"/>
                <a:gd name="T1" fmla="*/ 67 h 249"/>
                <a:gd name="T2" fmla="*/ 0 w 150"/>
                <a:gd name="T3" fmla="*/ 249 h 249"/>
                <a:gd name="T4" fmla="*/ 141 w 150"/>
                <a:gd name="T5" fmla="*/ 177 h 249"/>
                <a:gd name="T6" fmla="*/ 146 w 150"/>
                <a:gd name="T7" fmla="*/ 175 h 249"/>
                <a:gd name="T8" fmla="*/ 148 w 150"/>
                <a:gd name="T9" fmla="*/ 171 h 249"/>
                <a:gd name="T10" fmla="*/ 149 w 150"/>
                <a:gd name="T11" fmla="*/ 168 h 249"/>
                <a:gd name="T12" fmla="*/ 150 w 150"/>
                <a:gd name="T13" fmla="*/ 164 h 249"/>
                <a:gd name="T14" fmla="*/ 150 w 150"/>
                <a:gd name="T15" fmla="*/ 0 h 249"/>
                <a:gd name="T16" fmla="*/ 0 w 150"/>
                <a:gd name="T17" fmla="*/ 6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249">
                  <a:moveTo>
                    <a:pt x="0" y="67"/>
                  </a:moveTo>
                  <a:lnTo>
                    <a:pt x="0" y="249"/>
                  </a:lnTo>
                  <a:lnTo>
                    <a:pt x="141" y="177"/>
                  </a:lnTo>
                  <a:lnTo>
                    <a:pt x="146" y="175"/>
                  </a:lnTo>
                  <a:lnTo>
                    <a:pt x="148" y="171"/>
                  </a:lnTo>
                  <a:lnTo>
                    <a:pt x="149" y="168"/>
                  </a:lnTo>
                  <a:lnTo>
                    <a:pt x="150" y="164"/>
                  </a:lnTo>
                  <a:lnTo>
                    <a:pt x="150" y="0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7" name="Forma libre 621">
              <a:extLst>
                <a:ext uri="{FF2B5EF4-FFF2-40B4-BE49-F238E27FC236}">
                  <a16:creationId xmlns:a16="http://schemas.microsoft.com/office/drawing/2014/main" id="{F0BFE5B7-8DF8-46FD-A620-5863CDD2C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263" y="3192463"/>
              <a:ext cx="88900" cy="38100"/>
            </a:xfrm>
            <a:custGeom>
              <a:avLst/>
              <a:gdLst>
                <a:gd name="T0" fmla="*/ 146 w 281"/>
                <a:gd name="T1" fmla="*/ 2 h 120"/>
                <a:gd name="T2" fmla="*/ 143 w 281"/>
                <a:gd name="T3" fmla="*/ 0 h 120"/>
                <a:gd name="T4" fmla="*/ 141 w 281"/>
                <a:gd name="T5" fmla="*/ 0 h 120"/>
                <a:gd name="T6" fmla="*/ 138 w 281"/>
                <a:gd name="T7" fmla="*/ 0 h 120"/>
                <a:gd name="T8" fmla="*/ 134 w 281"/>
                <a:gd name="T9" fmla="*/ 2 h 120"/>
                <a:gd name="T10" fmla="*/ 0 w 281"/>
                <a:gd name="T11" fmla="*/ 55 h 120"/>
                <a:gd name="T12" fmla="*/ 141 w 281"/>
                <a:gd name="T13" fmla="*/ 120 h 120"/>
                <a:gd name="T14" fmla="*/ 281 w 281"/>
                <a:gd name="T15" fmla="*/ 55 h 120"/>
                <a:gd name="T16" fmla="*/ 146 w 281"/>
                <a:gd name="T17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1" h="120">
                  <a:moveTo>
                    <a:pt x="146" y="2"/>
                  </a:moveTo>
                  <a:lnTo>
                    <a:pt x="143" y="0"/>
                  </a:lnTo>
                  <a:lnTo>
                    <a:pt x="141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0" y="55"/>
                  </a:lnTo>
                  <a:lnTo>
                    <a:pt x="141" y="120"/>
                  </a:lnTo>
                  <a:lnTo>
                    <a:pt x="281" y="55"/>
                  </a:lnTo>
                  <a:lnTo>
                    <a:pt x="14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8" name="Forma libre 622">
              <a:extLst>
                <a:ext uri="{FF2B5EF4-FFF2-40B4-BE49-F238E27FC236}">
                  <a16:creationId xmlns:a16="http://schemas.microsoft.com/office/drawing/2014/main" id="{5D0B9796-E815-4726-9857-703A9FD12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325" y="3217863"/>
              <a:ext cx="47625" cy="77788"/>
            </a:xfrm>
            <a:custGeom>
              <a:avLst/>
              <a:gdLst>
                <a:gd name="T0" fmla="*/ 0 w 151"/>
                <a:gd name="T1" fmla="*/ 164 h 249"/>
                <a:gd name="T2" fmla="*/ 1 w 151"/>
                <a:gd name="T3" fmla="*/ 167 h 249"/>
                <a:gd name="T4" fmla="*/ 2 w 151"/>
                <a:gd name="T5" fmla="*/ 171 h 249"/>
                <a:gd name="T6" fmla="*/ 5 w 151"/>
                <a:gd name="T7" fmla="*/ 175 h 249"/>
                <a:gd name="T8" fmla="*/ 8 w 151"/>
                <a:gd name="T9" fmla="*/ 177 h 249"/>
                <a:gd name="T10" fmla="*/ 151 w 151"/>
                <a:gd name="T11" fmla="*/ 249 h 249"/>
                <a:gd name="T12" fmla="*/ 151 w 151"/>
                <a:gd name="T13" fmla="*/ 67 h 249"/>
                <a:gd name="T14" fmla="*/ 0 w 151"/>
                <a:gd name="T15" fmla="*/ 0 h 249"/>
                <a:gd name="T16" fmla="*/ 0 w 151"/>
                <a:gd name="T17" fmla="*/ 16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249">
                  <a:moveTo>
                    <a:pt x="0" y="164"/>
                  </a:moveTo>
                  <a:lnTo>
                    <a:pt x="1" y="167"/>
                  </a:lnTo>
                  <a:lnTo>
                    <a:pt x="2" y="171"/>
                  </a:lnTo>
                  <a:lnTo>
                    <a:pt x="5" y="175"/>
                  </a:lnTo>
                  <a:lnTo>
                    <a:pt x="8" y="177"/>
                  </a:lnTo>
                  <a:lnTo>
                    <a:pt x="151" y="249"/>
                  </a:lnTo>
                  <a:lnTo>
                    <a:pt x="151" y="67"/>
                  </a:lnTo>
                  <a:lnTo>
                    <a:pt x="0" y="0"/>
                  </a:lnTo>
                  <a:lnTo>
                    <a:pt x="0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9" name="Forma libre 623">
              <a:extLst>
                <a:ext uri="{FF2B5EF4-FFF2-40B4-BE49-F238E27FC236}">
                  <a16:creationId xmlns:a16="http://schemas.microsoft.com/office/drawing/2014/main" id="{8EE5335A-4B2B-4051-B832-924E8362F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288" y="3201988"/>
              <a:ext cx="144463" cy="47625"/>
            </a:xfrm>
            <a:custGeom>
              <a:avLst/>
              <a:gdLst>
                <a:gd name="T0" fmla="*/ 231 w 452"/>
                <a:gd name="T1" fmla="*/ 2 h 151"/>
                <a:gd name="T2" fmla="*/ 225 w 452"/>
                <a:gd name="T3" fmla="*/ 0 h 151"/>
                <a:gd name="T4" fmla="*/ 221 w 452"/>
                <a:gd name="T5" fmla="*/ 2 h 151"/>
                <a:gd name="T6" fmla="*/ 0 w 452"/>
                <a:gd name="T7" fmla="*/ 70 h 151"/>
                <a:gd name="T8" fmla="*/ 225 w 452"/>
                <a:gd name="T9" fmla="*/ 151 h 151"/>
                <a:gd name="T10" fmla="*/ 452 w 452"/>
                <a:gd name="T11" fmla="*/ 70 h 151"/>
                <a:gd name="T12" fmla="*/ 231 w 452"/>
                <a:gd name="T13" fmla="*/ 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2" h="151">
                  <a:moveTo>
                    <a:pt x="231" y="2"/>
                  </a:moveTo>
                  <a:lnTo>
                    <a:pt x="225" y="0"/>
                  </a:lnTo>
                  <a:lnTo>
                    <a:pt x="221" y="2"/>
                  </a:lnTo>
                  <a:lnTo>
                    <a:pt x="0" y="70"/>
                  </a:lnTo>
                  <a:lnTo>
                    <a:pt x="225" y="151"/>
                  </a:lnTo>
                  <a:lnTo>
                    <a:pt x="452" y="70"/>
                  </a:lnTo>
                  <a:lnTo>
                    <a:pt x="23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80" name="Forma libre 624">
              <a:extLst>
                <a:ext uri="{FF2B5EF4-FFF2-40B4-BE49-F238E27FC236}">
                  <a16:creationId xmlns:a16="http://schemas.microsoft.com/office/drawing/2014/main" id="{B60B596C-85C7-4E96-8284-FA8EFEC3D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3230563"/>
              <a:ext cx="76200" cy="123825"/>
            </a:xfrm>
            <a:custGeom>
              <a:avLst/>
              <a:gdLst>
                <a:gd name="T0" fmla="*/ 0 w 240"/>
                <a:gd name="T1" fmla="*/ 285 h 386"/>
                <a:gd name="T2" fmla="*/ 1 w 240"/>
                <a:gd name="T3" fmla="*/ 289 h 386"/>
                <a:gd name="T4" fmla="*/ 2 w 240"/>
                <a:gd name="T5" fmla="*/ 294 h 386"/>
                <a:gd name="T6" fmla="*/ 5 w 240"/>
                <a:gd name="T7" fmla="*/ 297 h 386"/>
                <a:gd name="T8" fmla="*/ 10 w 240"/>
                <a:gd name="T9" fmla="*/ 299 h 386"/>
                <a:gd name="T10" fmla="*/ 240 w 240"/>
                <a:gd name="T11" fmla="*/ 386 h 386"/>
                <a:gd name="T12" fmla="*/ 240 w 240"/>
                <a:gd name="T13" fmla="*/ 84 h 386"/>
                <a:gd name="T14" fmla="*/ 0 w 240"/>
                <a:gd name="T15" fmla="*/ 0 h 386"/>
                <a:gd name="T16" fmla="*/ 0 w 240"/>
                <a:gd name="T17" fmla="*/ 2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386">
                  <a:moveTo>
                    <a:pt x="0" y="285"/>
                  </a:moveTo>
                  <a:lnTo>
                    <a:pt x="1" y="289"/>
                  </a:lnTo>
                  <a:lnTo>
                    <a:pt x="2" y="294"/>
                  </a:lnTo>
                  <a:lnTo>
                    <a:pt x="5" y="297"/>
                  </a:lnTo>
                  <a:lnTo>
                    <a:pt x="10" y="299"/>
                  </a:lnTo>
                  <a:lnTo>
                    <a:pt x="240" y="386"/>
                  </a:lnTo>
                  <a:lnTo>
                    <a:pt x="240" y="84"/>
                  </a:lnTo>
                  <a:lnTo>
                    <a:pt x="0" y="0"/>
                  </a:lnTo>
                  <a:lnTo>
                    <a:pt x="0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81" name="Forma libre 625">
              <a:extLst>
                <a:ext uri="{FF2B5EF4-FFF2-40B4-BE49-F238E27FC236}">
                  <a16:creationId xmlns:a16="http://schemas.microsoft.com/office/drawing/2014/main" id="{121DC28D-617F-4ADC-87B3-2C09254FC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3230563"/>
              <a:ext cx="76200" cy="123825"/>
            </a:xfrm>
            <a:custGeom>
              <a:avLst/>
              <a:gdLst>
                <a:gd name="T0" fmla="*/ 0 w 241"/>
                <a:gd name="T1" fmla="*/ 386 h 386"/>
                <a:gd name="T2" fmla="*/ 231 w 241"/>
                <a:gd name="T3" fmla="*/ 299 h 386"/>
                <a:gd name="T4" fmla="*/ 235 w 241"/>
                <a:gd name="T5" fmla="*/ 297 h 386"/>
                <a:gd name="T6" fmla="*/ 238 w 241"/>
                <a:gd name="T7" fmla="*/ 294 h 386"/>
                <a:gd name="T8" fmla="*/ 239 w 241"/>
                <a:gd name="T9" fmla="*/ 289 h 386"/>
                <a:gd name="T10" fmla="*/ 241 w 241"/>
                <a:gd name="T11" fmla="*/ 285 h 386"/>
                <a:gd name="T12" fmla="*/ 241 w 241"/>
                <a:gd name="T13" fmla="*/ 0 h 386"/>
                <a:gd name="T14" fmla="*/ 0 w 241"/>
                <a:gd name="T15" fmla="*/ 84 h 386"/>
                <a:gd name="T16" fmla="*/ 0 w 241"/>
                <a:gd name="T17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1" h="386">
                  <a:moveTo>
                    <a:pt x="0" y="386"/>
                  </a:moveTo>
                  <a:lnTo>
                    <a:pt x="231" y="299"/>
                  </a:lnTo>
                  <a:lnTo>
                    <a:pt x="235" y="297"/>
                  </a:lnTo>
                  <a:lnTo>
                    <a:pt x="238" y="294"/>
                  </a:lnTo>
                  <a:lnTo>
                    <a:pt x="239" y="289"/>
                  </a:lnTo>
                  <a:lnTo>
                    <a:pt x="241" y="285"/>
                  </a:lnTo>
                  <a:lnTo>
                    <a:pt x="241" y="0"/>
                  </a:lnTo>
                  <a:lnTo>
                    <a:pt x="0" y="84"/>
                  </a:lnTo>
                  <a:lnTo>
                    <a:pt x="0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</p:grpSp>
      <p:sp>
        <p:nvSpPr>
          <p:cNvPr id="82" name="86 CuadroTexto">
            <a:extLst>
              <a:ext uri="{FF2B5EF4-FFF2-40B4-BE49-F238E27FC236}">
                <a16:creationId xmlns:a16="http://schemas.microsoft.com/office/drawing/2014/main" id="{16E43A29-3A2B-4358-B2CD-F5180530F339}"/>
              </a:ext>
            </a:extLst>
          </p:cNvPr>
          <p:cNvSpPr txBox="1"/>
          <p:nvPr userDrawn="1"/>
        </p:nvSpPr>
        <p:spPr>
          <a:xfrm>
            <a:off x="6987376" y="485070"/>
            <a:ext cx="5237189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marR="0" lvl="0" indent="0" algn="ctr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kern="0">
                <a:solidFill>
                  <a:srgbClr val="323F4F"/>
                </a:solidFill>
                <a:latin typeface="Flexo" pitchFamily="50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PE" sz="810" b="1"/>
              <a:t>Etapa: </a:t>
            </a:r>
            <a:r>
              <a:rPr lang="es-PE" sz="810"/>
              <a:t>(Ex) = Exploración  |  (M) = Maduración  |  (P) = Planificación  |  (E) = Ejecución  |  (C) = Cierre</a:t>
            </a:r>
          </a:p>
        </p:txBody>
      </p:sp>
    </p:spTree>
    <p:extLst>
      <p:ext uri="{BB962C8B-B14F-4D97-AF65-F5344CB8AC3E}">
        <p14:creationId xmlns:p14="http://schemas.microsoft.com/office/powerpoint/2010/main" val="26095963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784162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3939" y="1"/>
            <a:ext cx="7838062" cy="68580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AA7070E-4118-4494-BAD2-8DBA04DB9A84}"/>
              </a:ext>
            </a:extLst>
          </p:cNvPr>
          <p:cNvSpPr>
            <a:spLocks/>
          </p:cNvSpPr>
          <p:nvPr userDrawn="1"/>
        </p:nvSpPr>
        <p:spPr>
          <a:xfrm>
            <a:off x="0" y="1"/>
            <a:ext cx="6840595" cy="6858000"/>
          </a:xfrm>
          <a:custGeom>
            <a:avLst/>
            <a:gdLst>
              <a:gd name="connsiteX0" fmla="*/ 0 w 6704318"/>
              <a:gd name="connsiteY0" fmla="*/ 0 h 6721475"/>
              <a:gd name="connsiteX1" fmla="*/ 641619 w 6704318"/>
              <a:gd name="connsiteY1" fmla="*/ 0 h 6721475"/>
              <a:gd name="connsiteX2" fmla="*/ 645291 w 6704318"/>
              <a:gd name="connsiteY2" fmla="*/ 0 h 6721475"/>
              <a:gd name="connsiteX3" fmla="*/ 1460988 w 6704318"/>
              <a:gd name="connsiteY3" fmla="*/ 0 h 6721475"/>
              <a:gd name="connsiteX4" fmla="*/ 2439265 w 6704318"/>
              <a:gd name="connsiteY4" fmla="*/ 0 h 6721475"/>
              <a:gd name="connsiteX5" fmla="*/ 2442937 w 6704318"/>
              <a:gd name="connsiteY5" fmla="*/ 0 h 6721475"/>
              <a:gd name="connsiteX6" fmla="*/ 2530192 w 6704318"/>
              <a:gd name="connsiteY6" fmla="*/ 0 h 6721475"/>
              <a:gd name="connsiteX7" fmla="*/ 2533864 w 6704318"/>
              <a:gd name="connsiteY7" fmla="*/ 0 h 6721475"/>
              <a:gd name="connsiteX8" fmla="*/ 4327838 w 6704318"/>
              <a:gd name="connsiteY8" fmla="*/ 0 h 6721475"/>
              <a:gd name="connsiteX9" fmla="*/ 4331510 w 6704318"/>
              <a:gd name="connsiteY9" fmla="*/ 0 h 6721475"/>
              <a:gd name="connsiteX10" fmla="*/ 4331510 w 6704318"/>
              <a:gd name="connsiteY10" fmla="*/ 10386 h 6721475"/>
              <a:gd name="connsiteX11" fmla="*/ 6704318 w 6704318"/>
              <a:gd name="connsiteY11" fmla="*/ 6721475 h 6721475"/>
              <a:gd name="connsiteX12" fmla="*/ 4906672 w 6704318"/>
              <a:gd name="connsiteY12" fmla="*/ 6721475 h 6721475"/>
              <a:gd name="connsiteX13" fmla="*/ 4815745 w 6704318"/>
              <a:gd name="connsiteY13" fmla="*/ 6721475 h 6721475"/>
              <a:gd name="connsiteX14" fmla="*/ 3018099 w 6704318"/>
              <a:gd name="connsiteY14" fmla="*/ 6721475 h 6721475"/>
              <a:gd name="connsiteX15" fmla="*/ 1460988 w 6704318"/>
              <a:gd name="connsiteY15" fmla="*/ 6721475 h 6721475"/>
              <a:gd name="connsiteX16" fmla="*/ 0 w 6704318"/>
              <a:gd name="connsiteY16" fmla="*/ 6721475 h 6721475"/>
              <a:gd name="connsiteX17" fmla="*/ 0 w 6704318"/>
              <a:gd name="connsiteY17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04318" h="6721475">
                <a:moveTo>
                  <a:pt x="0" y="0"/>
                </a:moveTo>
                <a:lnTo>
                  <a:pt x="641619" y="0"/>
                </a:lnTo>
                <a:lnTo>
                  <a:pt x="645291" y="0"/>
                </a:lnTo>
                <a:lnTo>
                  <a:pt x="1460988" y="0"/>
                </a:lnTo>
                <a:lnTo>
                  <a:pt x="2439265" y="0"/>
                </a:lnTo>
                <a:lnTo>
                  <a:pt x="2442937" y="0"/>
                </a:lnTo>
                <a:lnTo>
                  <a:pt x="2530192" y="0"/>
                </a:lnTo>
                <a:lnTo>
                  <a:pt x="2533864" y="0"/>
                </a:lnTo>
                <a:lnTo>
                  <a:pt x="4327838" y="0"/>
                </a:lnTo>
                <a:lnTo>
                  <a:pt x="4331510" y="0"/>
                </a:lnTo>
                <a:lnTo>
                  <a:pt x="4331510" y="10386"/>
                </a:lnTo>
                <a:lnTo>
                  <a:pt x="6704318" y="6721475"/>
                </a:lnTo>
                <a:lnTo>
                  <a:pt x="4906672" y="6721475"/>
                </a:lnTo>
                <a:lnTo>
                  <a:pt x="4815745" y="6721475"/>
                </a:lnTo>
                <a:lnTo>
                  <a:pt x="3018099" y="6721475"/>
                </a:lnTo>
                <a:lnTo>
                  <a:pt x="1460988" y="6721475"/>
                </a:lnTo>
                <a:lnTo>
                  <a:pt x="0" y="672147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9B9250-2837-42B9-9997-131808FF9503}"/>
              </a:ext>
            </a:extLst>
          </p:cNvPr>
          <p:cNvGrpSpPr/>
          <p:nvPr userDrawn="1"/>
        </p:nvGrpSpPr>
        <p:grpSpPr>
          <a:xfrm>
            <a:off x="832779" y="2903658"/>
            <a:ext cx="3931927" cy="1050685"/>
            <a:chOff x="4797041" y="952089"/>
            <a:chExt cx="2281238" cy="609599"/>
          </a:xfrm>
        </p:grpSpPr>
        <p:sp>
          <p:nvSpPr>
            <p:cNvPr id="26" name="Freeform 538">
              <a:extLst>
                <a:ext uri="{FF2B5EF4-FFF2-40B4-BE49-F238E27FC236}">
                  <a16:creationId xmlns:a16="http://schemas.microsoft.com/office/drawing/2014/main" id="{B867A878-913F-47AE-A151-F55FDEC1EA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27" name="Freeform 539">
              <a:extLst>
                <a:ext uri="{FF2B5EF4-FFF2-40B4-BE49-F238E27FC236}">
                  <a16:creationId xmlns:a16="http://schemas.microsoft.com/office/drawing/2014/main" id="{3DC3CB76-26C6-4631-8C62-ABD7B3B492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28" name="Freeform 540">
              <a:extLst>
                <a:ext uri="{FF2B5EF4-FFF2-40B4-BE49-F238E27FC236}">
                  <a16:creationId xmlns:a16="http://schemas.microsoft.com/office/drawing/2014/main" id="{5675BF14-7787-4D15-A2C4-5109E68B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29" name="Freeform 541">
              <a:extLst>
                <a:ext uri="{FF2B5EF4-FFF2-40B4-BE49-F238E27FC236}">
                  <a16:creationId xmlns:a16="http://schemas.microsoft.com/office/drawing/2014/main" id="{549D4A3B-82C1-4AB5-ABB1-FF74D0CBC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30" name="Freeform 542">
              <a:extLst>
                <a:ext uri="{FF2B5EF4-FFF2-40B4-BE49-F238E27FC236}">
                  <a16:creationId xmlns:a16="http://schemas.microsoft.com/office/drawing/2014/main" id="{F4D1B063-2152-4213-ADC9-D6DC3545B7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31" name="Freeform 543">
              <a:extLst>
                <a:ext uri="{FF2B5EF4-FFF2-40B4-BE49-F238E27FC236}">
                  <a16:creationId xmlns:a16="http://schemas.microsoft.com/office/drawing/2014/main" id="{4C30F9F3-CAD7-45C3-83CF-A1E156B006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32" name="Freeform 544">
              <a:extLst>
                <a:ext uri="{FF2B5EF4-FFF2-40B4-BE49-F238E27FC236}">
                  <a16:creationId xmlns:a16="http://schemas.microsoft.com/office/drawing/2014/main" id="{CAFE6CEB-1DB4-4EAF-9377-14E5BA42C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</p:grpSp>
    </p:spTree>
    <p:extLst>
      <p:ext uri="{BB962C8B-B14F-4D97-AF65-F5344CB8AC3E}">
        <p14:creationId xmlns:p14="http://schemas.microsoft.com/office/powerpoint/2010/main" val="1654319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79" y="101900"/>
            <a:ext cx="11860664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9CED1FD3-6F8C-41F3-A722-8D849376F6B2}"/>
              </a:ext>
            </a:extLst>
          </p:cNvPr>
          <p:cNvSpPr/>
          <p:nvPr userDrawn="1"/>
        </p:nvSpPr>
        <p:spPr>
          <a:xfrm>
            <a:off x="9645" y="662118"/>
            <a:ext cx="1309224" cy="5897648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72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9CA4A21D-F929-43DE-B86A-C38CF6D538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110" y="5194037"/>
            <a:ext cx="578296" cy="542107"/>
          </a:xfrm>
          <a:prstGeom prst="rect">
            <a:avLst/>
          </a:prstGeom>
        </p:spPr>
      </p:pic>
      <p:sp>
        <p:nvSpPr>
          <p:cNvPr id="8" name="Shape 552">
            <a:extLst>
              <a:ext uri="{FF2B5EF4-FFF2-40B4-BE49-F238E27FC236}">
                <a16:creationId xmlns:a16="http://schemas.microsoft.com/office/drawing/2014/main" id="{42959B1E-294D-44A5-BFFA-6D3515501A5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7812" y="3509235"/>
            <a:ext cx="552891" cy="421112"/>
          </a:xfrm>
          <a:custGeom>
            <a:avLst/>
            <a:gdLst>
              <a:gd name="T0" fmla="*/ 2147483646 w 16266"/>
              <a:gd name="T1" fmla="*/ 2147483646 h 14215"/>
              <a:gd name="T2" fmla="*/ 2147483646 w 16266"/>
              <a:gd name="T3" fmla="*/ 2147483646 h 14215"/>
              <a:gd name="T4" fmla="*/ 2147483646 w 16266"/>
              <a:gd name="T5" fmla="*/ 2147483646 h 14215"/>
              <a:gd name="T6" fmla="*/ 2147483646 w 16266"/>
              <a:gd name="T7" fmla="*/ 2147483646 h 14215"/>
              <a:gd name="T8" fmla="*/ 2147483646 w 16266"/>
              <a:gd name="T9" fmla="*/ 2147483646 h 14215"/>
              <a:gd name="T10" fmla="*/ 2147483646 w 16266"/>
              <a:gd name="T11" fmla="*/ 2147483646 h 14215"/>
              <a:gd name="T12" fmla="*/ 2147483646 w 16266"/>
              <a:gd name="T13" fmla="*/ 2147483646 h 14215"/>
              <a:gd name="T14" fmla="*/ 2147483646 w 16266"/>
              <a:gd name="T15" fmla="*/ 2147483646 h 14215"/>
              <a:gd name="T16" fmla="*/ 2147483646 w 16266"/>
              <a:gd name="T17" fmla="*/ 2147483646 h 14215"/>
              <a:gd name="T18" fmla="*/ 2147483646 w 16266"/>
              <a:gd name="T19" fmla="*/ 2147483646 h 14215"/>
              <a:gd name="T20" fmla="*/ 2147483646 w 16266"/>
              <a:gd name="T21" fmla="*/ 2147483646 h 14215"/>
              <a:gd name="T22" fmla="*/ 2147483646 w 16266"/>
              <a:gd name="T23" fmla="*/ 2147483646 h 14215"/>
              <a:gd name="T24" fmla="*/ 2147483646 w 16266"/>
              <a:gd name="T25" fmla="*/ 2147483646 h 14215"/>
              <a:gd name="T26" fmla="*/ 2147483646 w 16266"/>
              <a:gd name="T27" fmla="*/ 2147483646 h 14215"/>
              <a:gd name="T28" fmla="*/ 2147483646 w 16266"/>
              <a:gd name="T29" fmla="*/ 2147483646 h 14215"/>
              <a:gd name="T30" fmla="*/ 2147483646 w 16266"/>
              <a:gd name="T31" fmla="*/ 2147483646 h 14215"/>
              <a:gd name="T32" fmla="*/ 2147483646 w 16266"/>
              <a:gd name="T33" fmla="*/ 2147483646 h 14215"/>
              <a:gd name="T34" fmla="*/ 2147483646 w 16266"/>
              <a:gd name="T35" fmla="*/ 2147483646 h 14215"/>
              <a:gd name="T36" fmla="*/ 2147483646 w 16266"/>
              <a:gd name="T37" fmla="*/ 2147483646 h 14215"/>
              <a:gd name="T38" fmla="*/ 2147483646 w 16266"/>
              <a:gd name="T39" fmla="*/ 2147483646 h 14215"/>
              <a:gd name="T40" fmla="*/ 2147483646 w 16266"/>
              <a:gd name="T41" fmla="*/ 2147483646 h 14215"/>
              <a:gd name="T42" fmla="*/ 2147483646 w 16266"/>
              <a:gd name="T43" fmla="*/ 2147483646 h 14215"/>
              <a:gd name="T44" fmla="*/ 2147483646 w 16266"/>
              <a:gd name="T45" fmla="*/ 2147483646 h 14215"/>
              <a:gd name="T46" fmla="*/ 2147483646 w 16266"/>
              <a:gd name="T47" fmla="*/ 2147483646 h 14215"/>
              <a:gd name="T48" fmla="*/ 2147483646 w 16266"/>
              <a:gd name="T49" fmla="*/ 2147483646 h 14215"/>
              <a:gd name="T50" fmla="*/ 2147483646 w 16266"/>
              <a:gd name="T51" fmla="*/ 2147483646 h 14215"/>
              <a:gd name="T52" fmla="*/ 2147483646 w 16266"/>
              <a:gd name="T53" fmla="*/ 2147483646 h 14215"/>
              <a:gd name="T54" fmla="*/ 2147483646 w 16266"/>
              <a:gd name="T55" fmla="*/ 2147483646 h 14215"/>
              <a:gd name="T56" fmla="*/ 2147483646 w 16266"/>
              <a:gd name="T57" fmla="*/ 2147483646 h 14215"/>
              <a:gd name="T58" fmla="*/ 2147483646 w 16266"/>
              <a:gd name="T59" fmla="*/ 2147483646 h 14215"/>
              <a:gd name="T60" fmla="*/ 2147483646 w 16266"/>
              <a:gd name="T61" fmla="*/ 2147483646 h 14215"/>
              <a:gd name="T62" fmla="*/ 2147483646 w 16266"/>
              <a:gd name="T63" fmla="*/ 2147483646 h 14215"/>
              <a:gd name="T64" fmla="*/ 2147483646 w 16266"/>
              <a:gd name="T65" fmla="*/ 2147483646 h 14215"/>
              <a:gd name="T66" fmla="*/ 2147483646 w 16266"/>
              <a:gd name="T67" fmla="*/ 2147483646 h 14215"/>
              <a:gd name="T68" fmla="*/ 2147483646 w 16266"/>
              <a:gd name="T69" fmla="*/ 2147483646 h 14215"/>
              <a:gd name="T70" fmla="*/ 2147483646 w 16266"/>
              <a:gd name="T71" fmla="*/ 2147483646 h 14215"/>
              <a:gd name="T72" fmla="*/ 2147483646 w 16266"/>
              <a:gd name="T73" fmla="*/ 2147483646 h 14215"/>
              <a:gd name="T74" fmla="*/ 2147483646 w 16266"/>
              <a:gd name="T75" fmla="*/ 2147483646 h 14215"/>
              <a:gd name="T76" fmla="*/ 2147483646 w 16266"/>
              <a:gd name="T77" fmla="*/ 2147483646 h 14215"/>
              <a:gd name="T78" fmla="*/ 0 w 16266"/>
              <a:gd name="T79" fmla="*/ 2147483646 h 14215"/>
              <a:gd name="T80" fmla="*/ 0 w 16266"/>
              <a:gd name="T81" fmla="*/ 2147483646 h 14215"/>
              <a:gd name="T82" fmla="*/ 2147483646 w 16266"/>
              <a:gd name="T83" fmla="*/ 2147483646 h 14215"/>
              <a:gd name="T84" fmla="*/ 2147483646 w 16266"/>
              <a:gd name="T85" fmla="*/ 2147483646 h 14215"/>
              <a:gd name="T86" fmla="*/ 2147483646 w 16266"/>
              <a:gd name="T87" fmla="*/ 2147483646 h 14215"/>
              <a:gd name="T88" fmla="*/ 2147483646 w 16266"/>
              <a:gd name="T89" fmla="*/ 2147483646 h 14215"/>
              <a:gd name="T90" fmla="*/ 2147483646 w 16266"/>
              <a:gd name="T91" fmla="*/ 2147483646 h 14215"/>
              <a:gd name="T92" fmla="*/ 2147483646 w 16266"/>
              <a:gd name="T93" fmla="*/ 2147483646 h 14215"/>
              <a:gd name="T94" fmla="*/ 2147483646 w 16266"/>
              <a:gd name="T95" fmla="*/ 2147483646 h 14215"/>
              <a:gd name="T96" fmla="*/ 2147483646 w 16266"/>
              <a:gd name="T97" fmla="*/ 2147483646 h 14215"/>
              <a:gd name="T98" fmla="*/ 2147483646 w 16266"/>
              <a:gd name="T99" fmla="*/ 2147483646 h 14215"/>
              <a:gd name="T100" fmla="*/ 2147483646 w 16266"/>
              <a:gd name="T101" fmla="*/ 2147483646 h 14215"/>
              <a:gd name="T102" fmla="*/ 2147483646 w 16266"/>
              <a:gd name="T103" fmla="*/ 2147483646 h 14215"/>
              <a:gd name="T104" fmla="*/ 2147483646 w 16266"/>
              <a:gd name="T105" fmla="*/ 2147483646 h 14215"/>
              <a:gd name="T106" fmla="*/ 2147483646 w 16266"/>
              <a:gd name="T107" fmla="*/ 2147483646 h 14215"/>
              <a:gd name="T108" fmla="*/ 2147483646 w 16266"/>
              <a:gd name="T109" fmla="*/ 2147483646 h 14215"/>
              <a:gd name="T110" fmla="*/ 2147483646 w 16266"/>
              <a:gd name="T111" fmla="*/ 2147483646 h 14215"/>
              <a:gd name="T112" fmla="*/ 2147483646 w 16266"/>
              <a:gd name="T113" fmla="*/ 2147483646 h 14215"/>
              <a:gd name="T114" fmla="*/ 2147483646 w 16266"/>
              <a:gd name="T115" fmla="*/ 0 h 1421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6266"/>
              <a:gd name="T175" fmla="*/ 0 h 14215"/>
              <a:gd name="T176" fmla="*/ 16266 w 16266"/>
              <a:gd name="T177" fmla="*/ 14215 h 14215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6266" h="14215" extrusionOk="0">
                <a:moveTo>
                  <a:pt x="8597" y="4397"/>
                </a:moveTo>
                <a:lnTo>
                  <a:pt x="8719" y="4421"/>
                </a:lnTo>
                <a:lnTo>
                  <a:pt x="8866" y="4445"/>
                </a:lnTo>
                <a:lnTo>
                  <a:pt x="8988" y="4519"/>
                </a:lnTo>
                <a:lnTo>
                  <a:pt x="9085" y="4616"/>
                </a:lnTo>
                <a:lnTo>
                  <a:pt x="9159" y="4714"/>
                </a:lnTo>
                <a:lnTo>
                  <a:pt x="9208" y="4836"/>
                </a:lnTo>
                <a:lnTo>
                  <a:pt x="9232" y="4958"/>
                </a:lnTo>
                <a:lnTo>
                  <a:pt x="9256" y="5105"/>
                </a:lnTo>
                <a:lnTo>
                  <a:pt x="8963" y="8939"/>
                </a:lnTo>
                <a:lnTo>
                  <a:pt x="8939" y="9086"/>
                </a:lnTo>
                <a:lnTo>
                  <a:pt x="8890" y="9232"/>
                </a:lnTo>
                <a:lnTo>
                  <a:pt x="8817" y="9330"/>
                </a:lnTo>
                <a:lnTo>
                  <a:pt x="8719" y="9452"/>
                </a:lnTo>
                <a:lnTo>
                  <a:pt x="8597" y="9525"/>
                </a:lnTo>
                <a:lnTo>
                  <a:pt x="8475" y="9599"/>
                </a:lnTo>
                <a:lnTo>
                  <a:pt x="8353" y="9648"/>
                </a:lnTo>
                <a:lnTo>
                  <a:pt x="7913" y="9648"/>
                </a:lnTo>
                <a:lnTo>
                  <a:pt x="7791" y="9599"/>
                </a:lnTo>
                <a:lnTo>
                  <a:pt x="7669" y="9525"/>
                </a:lnTo>
                <a:lnTo>
                  <a:pt x="7547" y="9452"/>
                </a:lnTo>
                <a:lnTo>
                  <a:pt x="7449" y="9330"/>
                </a:lnTo>
                <a:lnTo>
                  <a:pt x="7376" y="9232"/>
                </a:lnTo>
                <a:lnTo>
                  <a:pt x="7327" y="9086"/>
                </a:lnTo>
                <a:lnTo>
                  <a:pt x="7303" y="8939"/>
                </a:lnTo>
                <a:lnTo>
                  <a:pt x="7010" y="5105"/>
                </a:lnTo>
                <a:lnTo>
                  <a:pt x="7034" y="4958"/>
                </a:lnTo>
                <a:lnTo>
                  <a:pt x="7058" y="4836"/>
                </a:lnTo>
                <a:lnTo>
                  <a:pt x="7107" y="4714"/>
                </a:lnTo>
                <a:lnTo>
                  <a:pt x="7180" y="4616"/>
                </a:lnTo>
                <a:lnTo>
                  <a:pt x="7278" y="4519"/>
                </a:lnTo>
                <a:lnTo>
                  <a:pt x="7400" y="4445"/>
                </a:lnTo>
                <a:lnTo>
                  <a:pt x="7547" y="4421"/>
                </a:lnTo>
                <a:lnTo>
                  <a:pt x="7669" y="4397"/>
                </a:lnTo>
                <a:lnTo>
                  <a:pt x="8597" y="4397"/>
                </a:lnTo>
                <a:close/>
                <a:moveTo>
                  <a:pt x="8133" y="10429"/>
                </a:moveTo>
                <a:lnTo>
                  <a:pt x="8328" y="10454"/>
                </a:lnTo>
                <a:lnTo>
                  <a:pt x="8499" y="10502"/>
                </a:lnTo>
                <a:lnTo>
                  <a:pt x="8670" y="10600"/>
                </a:lnTo>
                <a:lnTo>
                  <a:pt x="8817" y="10722"/>
                </a:lnTo>
                <a:lnTo>
                  <a:pt x="8939" y="10869"/>
                </a:lnTo>
                <a:lnTo>
                  <a:pt x="9037" y="11040"/>
                </a:lnTo>
                <a:lnTo>
                  <a:pt x="9085" y="11211"/>
                </a:lnTo>
                <a:lnTo>
                  <a:pt x="9110" y="11406"/>
                </a:lnTo>
                <a:lnTo>
                  <a:pt x="9085" y="11601"/>
                </a:lnTo>
                <a:lnTo>
                  <a:pt x="9037" y="11797"/>
                </a:lnTo>
                <a:lnTo>
                  <a:pt x="8939" y="11943"/>
                </a:lnTo>
                <a:lnTo>
                  <a:pt x="8817" y="12090"/>
                </a:lnTo>
                <a:lnTo>
                  <a:pt x="8670" y="12212"/>
                </a:lnTo>
                <a:lnTo>
                  <a:pt x="8499" y="12310"/>
                </a:lnTo>
                <a:lnTo>
                  <a:pt x="8328" y="12359"/>
                </a:lnTo>
                <a:lnTo>
                  <a:pt x="8133" y="12383"/>
                </a:lnTo>
                <a:lnTo>
                  <a:pt x="7938" y="12359"/>
                </a:lnTo>
                <a:lnTo>
                  <a:pt x="7742" y="12310"/>
                </a:lnTo>
                <a:lnTo>
                  <a:pt x="7596" y="12212"/>
                </a:lnTo>
                <a:lnTo>
                  <a:pt x="7449" y="12090"/>
                </a:lnTo>
                <a:lnTo>
                  <a:pt x="7327" y="11943"/>
                </a:lnTo>
                <a:lnTo>
                  <a:pt x="7229" y="11797"/>
                </a:lnTo>
                <a:lnTo>
                  <a:pt x="7180" y="11601"/>
                </a:lnTo>
                <a:lnTo>
                  <a:pt x="7156" y="11406"/>
                </a:lnTo>
                <a:lnTo>
                  <a:pt x="7180" y="11211"/>
                </a:lnTo>
                <a:lnTo>
                  <a:pt x="7229" y="11040"/>
                </a:lnTo>
                <a:lnTo>
                  <a:pt x="7327" y="10869"/>
                </a:lnTo>
                <a:lnTo>
                  <a:pt x="7449" y="10722"/>
                </a:lnTo>
                <a:lnTo>
                  <a:pt x="7596" y="10600"/>
                </a:lnTo>
                <a:lnTo>
                  <a:pt x="7742" y="10502"/>
                </a:lnTo>
                <a:lnTo>
                  <a:pt x="7938" y="10454"/>
                </a:lnTo>
                <a:lnTo>
                  <a:pt x="8133" y="10429"/>
                </a:lnTo>
                <a:close/>
                <a:moveTo>
                  <a:pt x="7986" y="0"/>
                </a:moveTo>
                <a:lnTo>
                  <a:pt x="7864" y="25"/>
                </a:lnTo>
                <a:lnTo>
                  <a:pt x="7742" y="74"/>
                </a:lnTo>
                <a:lnTo>
                  <a:pt x="7620" y="123"/>
                </a:lnTo>
                <a:lnTo>
                  <a:pt x="7522" y="196"/>
                </a:lnTo>
                <a:lnTo>
                  <a:pt x="7425" y="294"/>
                </a:lnTo>
                <a:lnTo>
                  <a:pt x="7327" y="391"/>
                </a:lnTo>
                <a:lnTo>
                  <a:pt x="7254" y="489"/>
                </a:lnTo>
                <a:lnTo>
                  <a:pt x="147" y="12700"/>
                </a:lnTo>
                <a:lnTo>
                  <a:pt x="73" y="12823"/>
                </a:lnTo>
                <a:lnTo>
                  <a:pt x="25" y="12945"/>
                </a:lnTo>
                <a:lnTo>
                  <a:pt x="0" y="13067"/>
                </a:lnTo>
                <a:lnTo>
                  <a:pt x="0" y="13213"/>
                </a:lnTo>
                <a:lnTo>
                  <a:pt x="0" y="13335"/>
                </a:lnTo>
                <a:lnTo>
                  <a:pt x="25" y="13458"/>
                </a:lnTo>
                <a:lnTo>
                  <a:pt x="73" y="13604"/>
                </a:lnTo>
                <a:lnTo>
                  <a:pt x="147" y="13726"/>
                </a:lnTo>
                <a:lnTo>
                  <a:pt x="220" y="13824"/>
                </a:lnTo>
                <a:lnTo>
                  <a:pt x="293" y="13922"/>
                </a:lnTo>
                <a:lnTo>
                  <a:pt x="391" y="14019"/>
                </a:lnTo>
                <a:lnTo>
                  <a:pt x="513" y="14093"/>
                </a:lnTo>
                <a:lnTo>
                  <a:pt x="635" y="14141"/>
                </a:lnTo>
                <a:lnTo>
                  <a:pt x="757" y="14190"/>
                </a:lnTo>
                <a:lnTo>
                  <a:pt x="879" y="14215"/>
                </a:lnTo>
                <a:lnTo>
                  <a:pt x="15387" y="14215"/>
                </a:lnTo>
                <a:lnTo>
                  <a:pt x="15509" y="14190"/>
                </a:lnTo>
                <a:lnTo>
                  <a:pt x="15631" y="14141"/>
                </a:lnTo>
                <a:lnTo>
                  <a:pt x="15753" y="14093"/>
                </a:lnTo>
                <a:lnTo>
                  <a:pt x="15875" y="14019"/>
                </a:lnTo>
                <a:lnTo>
                  <a:pt x="15973" y="13922"/>
                </a:lnTo>
                <a:lnTo>
                  <a:pt x="16046" y="13824"/>
                </a:lnTo>
                <a:lnTo>
                  <a:pt x="16119" y="13726"/>
                </a:lnTo>
                <a:lnTo>
                  <a:pt x="16193" y="13604"/>
                </a:lnTo>
                <a:lnTo>
                  <a:pt x="16241" y="13458"/>
                </a:lnTo>
                <a:lnTo>
                  <a:pt x="16266" y="13335"/>
                </a:lnTo>
                <a:lnTo>
                  <a:pt x="16266" y="13213"/>
                </a:lnTo>
                <a:lnTo>
                  <a:pt x="16266" y="13067"/>
                </a:lnTo>
                <a:lnTo>
                  <a:pt x="16241" y="12945"/>
                </a:lnTo>
                <a:lnTo>
                  <a:pt x="16193" y="12823"/>
                </a:lnTo>
                <a:lnTo>
                  <a:pt x="16119" y="12700"/>
                </a:lnTo>
                <a:lnTo>
                  <a:pt x="9012" y="489"/>
                </a:lnTo>
                <a:lnTo>
                  <a:pt x="8939" y="391"/>
                </a:lnTo>
                <a:lnTo>
                  <a:pt x="8841" y="294"/>
                </a:lnTo>
                <a:lnTo>
                  <a:pt x="8744" y="196"/>
                </a:lnTo>
                <a:lnTo>
                  <a:pt x="8646" y="123"/>
                </a:lnTo>
                <a:lnTo>
                  <a:pt x="8524" y="74"/>
                </a:lnTo>
                <a:lnTo>
                  <a:pt x="8402" y="25"/>
                </a:lnTo>
                <a:lnTo>
                  <a:pt x="8255" y="0"/>
                </a:lnTo>
                <a:lnTo>
                  <a:pt x="7986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lIns="82265" tIns="82265" rIns="82265" bIns="82265" anchor="ctr"/>
          <a:lstStyle/>
          <a:p>
            <a:pPr marL="0" marR="0" lvl="0" indent="0" algn="l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080" b="0" i="0" u="none" strike="noStrike" kern="120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B593565-EC3B-4287-9B39-70983CC5CFFF}"/>
              </a:ext>
            </a:extLst>
          </p:cNvPr>
          <p:cNvSpPr txBox="1"/>
          <p:nvPr userDrawn="1"/>
        </p:nvSpPr>
        <p:spPr>
          <a:xfrm>
            <a:off x="59533" y="3893141"/>
            <a:ext cx="12094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Riesgos/</a:t>
            </a:r>
          </a:p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Problemas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7EAE267-C756-434A-A123-6A8DEBEE827F}"/>
              </a:ext>
            </a:extLst>
          </p:cNvPr>
          <p:cNvSpPr txBox="1"/>
          <p:nvPr userDrawn="1"/>
        </p:nvSpPr>
        <p:spPr>
          <a:xfrm>
            <a:off x="59533" y="5820578"/>
            <a:ext cx="120944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Siguientes paso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F79CC2C-FCB8-4B04-A4DF-4A546FD56C36}"/>
              </a:ext>
            </a:extLst>
          </p:cNvPr>
          <p:cNvSpPr txBox="1"/>
          <p:nvPr userDrawn="1"/>
        </p:nvSpPr>
        <p:spPr>
          <a:xfrm>
            <a:off x="59533" y="1968330"/>
            <a:ext cx="120944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Alcance y avances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F557961-AB7C-4D81-AD2A-C37B226E71A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34225" y="1209413"/>
            <a:ext cx="1060067" cy="769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807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79" y="101900"/>
            <a:ext cx="11860664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9CED1FD3-6F8C-41F3-A722-8D849376F6B2}"/>
              </a:ext>
            </a:extLst>
          </p:cNvPr>
          <p:cNvSpPr/>
          <p:nvPr userDrawn="1"/>
        </p:nvSpPr>
        <p:spPr>
          <a:xfrm>
            <a:off x="9645" y="662118"/>
            <a:ext cx="1309224" cy="5897648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72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9CA4A21D-F929-43DE-B86A-C38CF6D538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110" y="5194037"/>
            <a:ext cx="578296" cy="542107"/>
          </a:xfrm>
          <a:prstGeom prst="rect">
            <a:avLst/>
          </a:prstGeom>
        </p:spPr>
      </p:pic>
      <p:sp>
        <p:nvSpPr>
          <p:cNvPr id="8" name="Shape 552">
            <a:extLst>
              <a:ext uri="{FF2B5EF4-FFF2-40B4-BE49-F238E27FC236}">
                <a16:creationId xmlns:a16="http://schemas.microsoft.com/office/drawing/2014/main" id="{42959B1E-294D-44A5-BFFA-6D3515501A5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7812" y="3509235"/>
            <a:ext cx="552891" cy="421112"/>
          </a:xfrm>
          <a:custGeom>
            <a:avLst/>
            <a:gdLst>
              <a:gd name="T0" fmla="*/ 2147483646 w 16266"/>
              <a:gd name="T1" fmla="*/ 2147483646 h 14215"/>
              <a:gd name="T2" fmla="*/ 2147483646 w 16266"/>
              <a:gd name="T3" fmla="*/ 2147483646 h 14215"/>
              <a:gd name="T4" fmla="*/ 2147483646 w 16266"/>
              <a:gd name="T5" fmla="*/ 2147483646 h 14215"/>
              <a:gd name="T6" fmla="*/ 2147483646 w 16266"/>
              <a:gd name="T7" fmla="*/ 2147483646 h 14215"/>
              <a:gd name="T8" fmla="*/ 2147483646 w 16266"/>
              <a:gd name="T9" fmla="*/ 2147483646 h 14215"/>
              <a:gd name="T10" fmla="*/ 2147483646 w 16266"/>
              <a:gd name="T11" fmla="*/ 2147483646 h 14215"/>
              <a:gd name="T12" fmla="*/ 2147483646 w 16266"/>
              <a:gd name="T13" fmla="*/ 2147483646 h 14215"/>
              <a:gd name="T14" fmla="*/ 2147483646 w 16266"/>
              <a:gd name="T15" fmla="*/ 2147483646 h 14215"/>
              <a:gd name="T16" fmla="*/ 2147483646 w 16266"/>
              <a:gd name="T17" fmla="*/ 2147483646 h 14215"/>
              <a:gd name="T18" fmla="*/ 2147483646 w 16266"/>
              <a:gd name="T19" fmla="*/ 2147483646 h 14215"/>
              <a:gd name="T20" fmla="*/ 2147483646 w 16266"/>
              <a:gd name="T21" fmla="*/ 2147483646 h 14215"/>
              <a:gd name="T22" fmla="*/ 2147483646 w 16266"/>
              <a:gd name="T23" fmla="*/ 2147483646 h 14215"/>
              <a:gd name="T24" fmla="*/ 2147483646 w 16266"/>
              <a:gd name="T25" fmla="*/ 2147483646 h 14215"/>
              <a:gd name="T26" fmla="*/ 2147483646 w 16266"/>
              <a:gd name="T27" fmla="*/ 2147483646 h 14215"/>
              <a:gd name="T28" fmla="*/ 2147483646 w 16266"/>
              <a:gd name="T29" fmla="*/ 2147483646 h 14215"/>
              <a:gd name="T30" fmla="*/ 2147483646 w 16266"/>
              <a:gd name="T31" fmla="*/ 2147483646 h 14215"/>
              <a:gd name="T32" fmla="*/ 2147483646 w 16266"/>
              <a:gd name="T33" fmla="*/ 2147483646 h 14215"/>
              <a:gd name="T34" fmla="*/ 2147483646 w 16266"/>
              <a:gd name="T35" fmla="*/ 2147483646 h 14215"/>
              <a:gd name="T36" fmla="*/ 2147483646 w 16266"/>
              <a:gd name="T37" fmla="*/ 2147483646 h 14215"/>
              <a:gd name="T38" fmla="*/ 2147483646 w 16266"/>
              <a:gd name="T39" fmla="*/ 2147483646 h 14215"/>
              <a:gd name="T40" fmla="*/ 2147483646 w 16266"/>
              <a:gd name="T41" fmla="*/ 2147483646 h 14215"/>
              <a:gd name="T42" fmla="*/ 2147483646 w 16266"/>
              <a:gd name="T43" fmla="*/ 2147483646 h 14215"/>
              <a:gd name="T44" fmla="*/ 2147483646 w 16266"/>
              <a:gd name="T45" fmla="*/ 2147483646 h 14215"/>
              <a:gd name="T46" fmla="*/ 2147483646 w 16266"/>
              <a:gd name="T47" fmla="*/ 2147483646 h 14215"/>
              <a:gd name="T48" fmla="*/ 2147483646 w 16266"/>
              <a:gd name="T49" fmla="*/ 2147483646 h 14215"/>
              <a:gd name="T50" fmla="*/ 2147483646 w 16266"/>
              <a:gd name="T51" fmla="*/ 2147483646 h 14215"/>
              <a:gd name="T52" fmla="*/ 2147483646 w 16266"/>
              <a:gd name="T53" fmla="*/ 2147483646 h 14215"/>
              <a:gd name="T54" fmla="*/ 2147483646 w 16266"/>
              <a:gd name="T55" fmla="*/ 2147483646 h 14215"/>
              <a:gd name="T56" fmla="*/ 2147483646 w 16266"/>
              <a:gd name="T57" fmla="*/ 2147483646 h 14215"/>
              <a:gd name="T58" fmla="*/ 2147483646 w 16266"/>
              <a:gd name="T59" fmla="*/ 2147483646 h 14215"/>
              <a:gd name="T60" fmla="*/ 2147483646 w 16266"/>
              <a:gd name="T61" fmla="*/ 2147483646 h 14215"/>
              <a:gd name="T62" fmla="*/ 2147483646 w 16266"/>
              <a:gd name="T63" fmla="*/ 2147483646 h 14215"/>
              <a:gd name="T64" fmla="*/ 2147483646 w 16266"/>
              <a:gd name="T65" fmla="*/ 2147483646 h 14215"/>
              <a:gd name="T66" fmla="*/ 2147483646 w 16266"/>
              <a:gd name="T67" fmla="*/ 2147483646 h 14215"/>
              <a:gd name="T68" fmla="*/ 2147483646 w 16266"/>
              <a:gd name="T69" fmla="*/ 2147483646 h 14215"/>
              <a:gd name="T70" fmla="*/ 2147483646 w 16266"/>
              <a:gd name="T71" fmla="*/ 2147483646 h 14215"/>
              <a:gd name="T72" fmla="*/ 2147483646 w 16266"/>
              <a:gd name="T73" fmla="*/ 2147483646 h 14215"/>
              <a:gd name="T74" fmla="*/ 2147483646 w 16266"/>
              <a:gd name="T75" fmla="*/ 2147483646 h 14215"/>
              <a:gd name="T76" fmla="*/ 2147483646 w 16266"/>
              <a:gd name="T77" fmla="*/ 2147483646 h 14215"/>
              <a:gd name="T78" fmla="*/ 0 w 16266"/>
              <a:gd name="T79" fmla="*/ 2147483646 h 14215"/>
              <a:gd name="T80" fmla="*/ 0 w 16266"/>
              <a:gd name="T81" fmla="*/ 2147483646 h 14215"/>
              <a:gd name="T82" fmla="*/ 2147483646 w 16266"/>
              <a:gd name="T83" fmla="*/ 2147483646 h 14215"/>
              <a:gd name="T84" fmla="*/ 2147483646 w 16266"/>
              <a:gd name="T85" fmla="*/ 2147483646 h 14215"/>
              <a:gd name="T86" fmla="*/ 2147483646 w 16266"/>
              <a:gd name="T87" fmla="*/ 2147483646 h 14215"/>
              <a:gd name="T88" fmla="*/ 2147483646 w 16266"/>
              <a:gd name="T89" fmla="*/ 2147483646 h 14215"/>
              <a:gd name="T90" fmla="*/ 2147483646 w 16266"/>
              <a:gd name="T91" fmla="*/ 2147483646 h 14215"/>
              <a:gd name="T92" fmla="*/ 2147483646 w 16266"/>
              <a:gd name="T93" fmla="*/ 2147483646 h 14215"/>
              <a:gd name="T94" fmla="*/ 2147483646 w 16266"/>
              <a:gd name="T95" fmla="*/ 2147483646 h 14215"/>
              <a:gd name="T96" fmla="*/ 2147483646 w 16266"/>
              <a:gd name="T97" fmla="*/ 2147483646 h 14215"/>
              <a:gd name="T98" fmla="*/ 2147483646 w 16266"/>
              <a:gd name="T99" fmla="*/ 2147483646 h 14215"/>
              <a:gd name="T100" fmla="*/ 2147483646 w 16266"/>
              <a:gd name="T101" fmla="*/ 2147483646 h 14215"/>
              <a:gd name="T102" fmla="*/ 2147483646 w 16266"/>
              <a:gd name="T103" fmla="*/ 2147483646 h 14215"/>
              <a:gd name="T104" fmla="*/ 2147483646 w 16266"/>
              <a:gd name="T105" fmla="*/ 2147483646 h 14215"/>
              <a:gd name="T106" fmla="*/ 2147483646 w 16266"/>
              <a:gd name="T107" fmla="*/ 2147483646 h 14215"/>
              <a:gd name="T108" fmla="*/ 2147483646 w 16266"/>
              <a:gd name="T109" fmla="*/ 2147483646 h 14215"/>
              <a:gd name="T110" fmla="*/ 2147483646 w 16266"/>
              <a:gd name="T111" fmla="*/ 2147483646 h 14215"/>
              <a:gd name="T112" fmla="*/ 2147483646 w 16266"/>
              <a:gd name="T113" fmla="*/ 2147483646 h 14215"/>
              <a:gd name="T114" fmla="*/ 2147483646 w 16266"/>
              <a:gd name="T115" fmla="*/ 0 h 1421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6266"/>
              <a:gd name="T175" fmla="*/ 0 h 14215"/>
              <a:gd name="T176" fmla="*/ 16266 w 16266"/>
              <a:gd name="T177" fmla="*/ 14215 h 14215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6266" h="14215" extrusionOk="0">
                <a:moveTo>
                  <a:pt x="8597" y="4397"/>
                </a:moveTo>
                <a:lnTo>
                  <a:pt x="8719" y="4421"/>
                </a:lnTo>
                <a:lnTo>
                  <a:pt x="8866" y="4445"/>
                </a:lnTo>
                <a:lnTo>
                  <a:pt x="8988" y="4519"/>
                </a:lnTo>
                <a:lnTo>
                  <a:pt x="9085" y="4616"/>
                </a:lnTo>
                <a:lnTo>
                  <a:pt x="9159" y="4714"/>
                </a:lnTo>
                <a:lnTo>
                  <a:pt x="9208" y="4836"/>
                </a:lnTo>
                <a:lnTo>
                  <a:pt x="9232" y="4958"/>
                </a:lnTo>
                <a:lnTo>
                  <a:pt x="9256" y="5105"/>
                </a:lnTo>
                <a:lnTo>
                  <a:pt x="8963" y="8939"/>
                </a:lnTo>
                <a:lnTo>
                  <a:pt x="8939" y="9086"/>
                </a:lnTo>
                <a:lnTo>
                  <a:pt x="8890" y="9232"/>
                </a:lnTo>
                <a:lnTo>
                  <a:pt x="8817" y="9330"/>
                </a:lnTo>
                <a:lnTo>
                  <a:pt x="8719" y="9452"/>
                </a:lnTo>
                <a:lnTo>
                  <a:pt x="8597" y="9525"/>
                </a:lnTo>
                <a:lnTo>
                  <a:pt x="8475" y="9599"/>
                </a:lnTo>
                <a:lnTo>
                  <a:pt x="8353" y="9648"/>
                </a:lnTo>
                <a:lnTo>
                  <a:pt x="7913" y="9648"/>
                </a:lnTo>
                <a:lnTo>
                  <a:pt x="7791" y="9599"/>
                </a:lnTo>
                <a:lnTo>
                  <a:pt x="7669" y="9525"/>
                </a:lnTo>
                <a:lnTo>
                  <a:pt x="7547" y="9452"/>
                </a:lnTo>
                <a:lnTo>
                  <a:pt x="7449" y="9330"/>
                </a:lnTo>
                <a:lnTo>
                  <a:pt x="7376" y="9232"/>
                </a:lnTo>
                <a:lnTo>
                  <a:pt x="7327" y="9086"/>
                </a:lnTo>
                <a:lnTo>
                  <a:pt x="7303" y="8939"/>
                </a:lnTo>
                <a:lnTo>
                  <a:pt x="7010" y="5105"/>
                </a:lnTo>
                <a:lnTo>
                  <a:pt x="7034" y="4958"/>
                </a:lnTo>
                <a:lnTo>
                  <a:pt x="7058" y="4836"/>
                </a:lnTo>
                <a:lnTo>
                  <a:pt x="7107" y="4714"/>
                </a:lnTo>
                <a:lnTo>
                  <a:pt x="7180" y="4616"/>
                </a:lnTo>
                <a:lnTo>
                  <a:pt x="7278" y="4519"/>
                </a:lnTo>
                <a:lnTo>
                  <a:pt x="7400" y="4445"/>
                </a:lnTo>
                <a:lnTo>
                  <a:pt x="7547" y="4421"/>
                </a:lnTo>
                <a:lnTo>
                  <a:pt x="7669" y="4397"/>
                </a:lnTo>
                <a:lnTo>
                  <a:pt x="8597" y="4397"/>
                </a:lnTo>
                <a:close/>
                <a:moveTo>
                  <a:pt x="8133" y="10429"/>
                </a:moveTo>
                <a:lnTo>
                  <a:pt x="8328" y="10454"/>
                </a:lnTo>
                <a:lnTo>
                  <a:pt x="8499" y="10502"/>
                </a:lnTo>
                <a:lnTo>
                  <a:pt x="8670" y="10600"/>
                </a:lnTo>
                <a:lnTo>
                  <a:pt x="8817" y="10722"/>
                </a:lnTo>
                <a:lnTo>
                  <a:pt x="8939" y="10869"/>
                </a:lnTo>
                <a:lnTo>
                  <a:pt x="9037" y="11040"/>
                </a:lnTo>
                <a:lnTo>
                  <a:pt x="9085" y="11211"/>
                </a:lnTo>
                <a:lnTo>
                  <a:pt x="9110" y="11406"/>
                </a:lnTo>
                <a:lnTo>
                  <a:pt x="9085" y="11601"/>
                </a:lnTo>
                <a:lnTo>
                  <a:pt x="9037" y="11797"/>
                </a:lnTo>
                <a:lnTo>
                  <a:pt x="8939" y="11943"/>
                </a:lnTo>
                <a:lnTo>
                  <a:pt x="8817" y="12090"/>
                </a:lnTo>
                <a:lnTo>
                  <a:pt x="8670" y="12212"/>
                </a:lnTo>
                <a:lnTo>
                  <a:pt x="8499" y="12310"/>
                </a:lnTo>
                <a:lnTo>
                  <a:pt x="8328" y="12359"/>
                </a:lnTo>
                <a:lnTo>
                  <a:pt x="8133" y="12383"/>
                </a:lnTo>
                <a:lnTo>
                  <a:pt x="7938" y="12359"/>
                </a:lnTo>
                <a:lnTo>
                  <a:pt x="7742" y="12310"/>
                </a:lnTo>
                <a:lnTo>
                  <a:pt x="7596" y="12212"/>
                </a:lnTo>
                <a:lnTo>
                  <a:pt x="7449" y="12090"/>
                </a:lnTo>
                <a:lnTo>
                  <a:pt x="7327" y="11943"/>
                </a:lnTo>
                <a:lnTo>
                  <a:pt x="7229" y="11797"/>
                </a:lnTo>
                <a:lnTo>
                  <a:pt x="7180" y="11601"/>
                </a:lnTo>
                <a:lnTo>
                  <a:pt x="7156" y="11406"/>
                </a:lnTo>
                <a:lnTo>
                  <a:pt x="7180" y="11211"/>
                </a:lnTo>
                <a:lnTo>
                  <a:pt x="7229" y="11040"/>
                </a:lnTo>
                <a:lnTo>
                  <a:pt x="7327" y="10869"/>
                </a:lnTo>
                <a:lnTo>
                  <a:pt x="7449" y="10722"/>
                </a:lnTo>
                <a:lnTo>
                  <a:pt x="7596" y="10600"/>
                </a:lnTo>
                <a:lnTo>
                  <a:pt x="7742" y="10502"/>
                </a:lnTo>
                <a:lnTo>
                  <a:pt x="7938" y="10454"/>
                </a:lnTo>
                <a:lnTo>
                  <a:pt x="8133" y="10429"/>
                </a:lnTo>
                <a:close/>
                <a:moveTo>
                  <a:pt x="7986" y="0"/>
                </a:moveTo>
                <a:lnTo>
                  <a:pt x="7864" y="25"/>
                </a:lnTo>
                <a:lnTo>
                  <a:pt x="7742" y="74"/>
                </a:lnTo>
                <a:lnTo>
                  <a:pt x="7620" y="123"/>
                </a:lnTo>
                <a:lnTo>
                  <a:pt x="7522" y="196"/>
                </a:lnTo>
                <a:lnTo>
                  <a:pt x="7425" y="294"/>
                </a:lnTo>
                <a:lnTo>
                  <a:pt x="7327" y="391"/>
                </a:lnTo>
                <a:lnTo>
                  <a:pt x="7254" y="489"/>
                </a:lnTo>
                <a:lnTo>
                  <a:pt x="147" y="12700"/>
                </a:lnTo>
                <a:lnTo>
                  <a:pt x="73" y="12823"/>
                </a:lnTo>
                <a:lnTo>
                  <a:pt x="25" y="12945"/>
                </a:lnTo>
                <a:lnTo>
                  <a:pt x="0" y="13067"/>
                </a:lnTo>
                <a:lnTo>
                  <a:pt x="0" y="13213"/>
                </a:lnTo>
                <a:lnTo>
                  <a:pt x="0" y="13335"/>
                </a:lnTo>
                <a:lnTo>
                  <a:pt x="25" y="13458"/>
                </a:lnTo>
                <a:lnTo>
                  <a:pt x="73" y="13604"/>
                </a:lnTo>
                <a:lnTo>
                  <a:pt x="147" y="13726"/>
                </a:lnTo>
                <a:lnTo>
                  <a:pt x="220" y="13824"/>
                </a:lnTo>
                <a:lnTo>
                  <a:pt x="293" y="13922"/>
                </a:lnTo>
                <a:lnTo>
                  <a:pt x="391" y="14019"/>
                </a:lnTo>
                <a:lnTo>
                  <a:pt x="513" y="14093"/>
                </a:lnTo>
                <a:lnTo>
                  <a:pt x="635" y="14141"/>
                </a:lnTo>
                <a:lnTo>
                  <a:pt x="757" y="14190"/>
                </a:lnTo>
                <a:lnTo>
                  <a:pt x="879" y="14215"/>
                </a:lnTo>
                <a:lnTo>
                  <a:pt x="15387" y="14215"/>
                </a:lnTo>
                <a:lnTo>
                  <a:pt x="15509" y="14190"/>
                </a:lnTo>
                <a:lnTo>
                  <a:pt x="15631" y="14141"/>
                </a:lnTo>
                <a:lnTo>
                  <a:pt x="15753" y="14093"/>
                </a:lnTo>
                <a:lnTo>
                  <a:pt x="15875" y="14019"/>
                </a:lnTo>
                <a:lnTo>
                  <a:pt x="15973" y="13922"/>
                </a:lnTo>
                <a:lnTo>
                  <a:pt x="16046" y="13824"/>
                </a:lnTo>
                <a:lnTo>
                  <a:pt x="16119" y="13726"/>
                </a:lnTo>
                <a:lnTo>
                  <a:pt x="16193" y="13604"/>
                </a:lnTo>
                <a:lnTo>
                  <a:pt x="16241" y="13458"/>
                </a:lnTo>
                <a:lnTo>
                  <a:pt x="16266" y="13335"/>
                </a:lnTo>
                <a:lnTo>
                  <a:pt x="16266" y="13213"/>
                </a:lnTo>
                <a:lnTo>
                  <a:pt x="16266" y="13067"/>
                </a:lnTo>
                <a:lnTo>
                  <a:pt x="16241" y="12945"/>
                </a:lnTo>
                <a:lnTo>
                  <a:pt x="16193" y="12823"/>
                </a:lnTo>
                <a:lnTo>
                  <a:pt x="16119" y="12700"/>
                </a:lnTo>
                <a:lnTo>
                  <a:pt x="9012" y="489"/>
                </a:lnTo>
                <a:lnTo>
                  <a:pt x="8939" y="391"/>
                </a:lnTo>
                <a:lnTo>
                  <a:pt x="8841" y="294"/>
                </a:lnTo>
                <a:lnTo>
                  <a:pt x="8744" y="196"/>
                </a:lnTo>
                <a:lnTo>
                  <a:pt x="8646" y="123"/>
                </a:lnTo>
                <a:lnTo>
                  <a:pt x="8524" y="74"/>
                </a:lnTo>
                <a:lnTo>
                  <a:pt x="8402" y="25"/>
                </a:lnTo>
                <a:lnTo>
                  <a:pt x="8255" y="0"/>
                </a:lnTo>
                <a:lnTo>
                  <a:pt x="7986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lIns="82265" tIns="82265" rIns="82265" bIns="82265" anchor="ctr"/>
          <a:lstStyle/>
          <a:p>
            <a:pPr marL="0" marR="0" lvl="0" indent="0" algn="l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080" b="0" i="0" u="none" strike="noStrike" kern="120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B593565-EC3B-4287-9B39-70983CC5CFFF}"/>
              </a:ext>
            </a:extLst>
          </p:cNvPr>
          <p:cNvSpPr txBox="1"/>
          <p:nvPr userDrawn="1"/>
        </p:nvSpPr>
        <p:spPr>
          <a:xfrm>
            <a:off x="59533" y="3893141"/>
            <a:ext cx="12094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Riesgos/</a:t>
            </a:r>
          </a:p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Problemas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7EAE267-C756-434A-A123-6A8DEBEE827F}"/>
              </a:ext>
            </a:extLst>
          </p:cNvPr>
          <p:cNvSpPr txBox="1"/>
          <p:nvPr userDrawn="1"/>
        </p:nvSpPr>
        <p:spPr>
          <a:xfrm>
            <a:off x="59533" y="5820578"/>
            <a:ext cx="120944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Siguientes paso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F79CC2C-FCB8-4B04-A4DF-4A546FD56C36}"/>
              </a:ext>
            </a:extLst>
          </p:cNvPr>
          <p:cNvSpPr txBox="1"/>
          <p:nvPr userDrawn="1"/>
        </p:nvSpPr>
        <p:spPr>
          <a:xfrm>
            <a:off x="59533" y="1968330"/>
            <a:ext cx="120944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Entrega de Valor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F557961-AB7C-4D81-AD2A-C37B226E71A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34225" y="1209413"/>
            <a:ext cx="1060067" cy="769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050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79" y="101900"/>
            <a:ext cx="11860664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92 CuadroTexto">
            <a:extLst>
              <a:ext uri="{FF2B5EF4-FFF2-40B4-BE49-F238E27FC236}">
                <a16:creationId xmlns:a16="http://schemas.microsoft.com/office/drawing/2014/main" id="{8048886B-AA90-465A-910B-D758D6561D7F}"/>
              </a:ext>
            </a:extLst>
          </p:cNvPr>
          <p:cNvSpPr txBox="1"/>
          <p:nvPr userDrawn="1"/>
        </p:nvSpPr>
        <p:spPr>
          <a:xfrm>
            <a:off x="232690" y="6624597"/>
            <a:ext cx="8206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254061"/>
                </a:solidFill>
                <a:latin typeface="Flexo Medium" pitchFamily="50" charset="0"/>
              </a:defRPr>
            </a:lvl1pPr>
          </a:lstStyle>
          <a:p>
            <a:pPr marL="0" marR="0" lvl="0" indent="0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Terminado</a:t>
            </a:r>
          </a:p>
        </p:txBody>
      </p:sp>
      <p:sp>
        <p:nvSpPr>
          <p:cNvPr id="14" name="92 CuadroTexto">
            <a:extLst>
              <a:ext uri="{FF2B5EF4-FFF2-40B4-BE49-F238E27FC236}">
                <a16:creationId xmlns:a16="http://schemas.microsoft.com/office/drawing/2014/main" id="{D1A9F13C-95C3-480B-B324-C44A2E84931E}"/>
              </a:ext>
            </a:extLst>
          </p:cNvPr>
          <p:cNvSpPr txBox="1"/>
          <p:nvPr userDrawn="1"/>
        </p:nvSpPr>
        <p:spPr>
          <a:xfrm>
            <a:off x="2356842" y="6624597"/>
            <a:ext cx="9175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254061"/>
                </a:solidFill>
                <a:latin typeface="Flexo Medium" pitchFamily="50" charset="0"/>
              </a:defRPr>
            </a:lvl1pPr>
          </a:lstStyle>
          <a:p>
            <a:pPr marL="0" marR="0" lvl="0" indent="0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Planificado</a:t>
            </a:r>
          </a:p>
        </p:txBody>
      </p:sp>
      <p:sp>
        <p:nvSpPr>
          <p:cNvPr id="15" name="92 CuadroTexto">
            <a:extLst>
              <a:ext uri="{FF2B5EF4-FFF2-40B4-BE49-F238E27FC236}">
                <a16:creationId xmlns:a16="http://schemas.microsoft.com/office/drawing/2014/main" id="{0B50627D-B106-4450-996F-0251D8664820}"/>
              </a:ext>
            </a:extLst>
          </p:cNvPr>
          <p:cNvSpPr txBox="1"/>
          <p:nvPr userDrawn="1"/>
        </p:nvSpPr>
        <p:spPr>
          <a:xfrm>
            <a:off x="1308057" y="6624597"/>
            <a:ext cx="9175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254061"/>
                </a:solidFill>
                <a:latin typeface="Flexo Medium" pitchFamily="50" charset="0"/>
              </a:defRPr>
            </a:lvl1pPr>
          </a:lstStyle>
          <a:p>
            <a:pPr marL="0" marR="0" lvl="0" indent="0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En proceso</a:t>
            </a:r>
          </a:p>
        </p:txBody>
      </p: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7209CF0-8944-44C1-90DF-62AE941C1BE6}"/>
              </a:ext>
            </a:extLst>
          </p:cNvPr>
          <p:cNvSpPr>
            <a:spLocks noChangeAspect="1"/>
          </p:cNvSpPr>
          <p:nvPr userDrawn="1"/>
        </p:nvSpPr>
        <p:spPr>
          <a:xfrm>
            <a:off x="1116283" y="6654391"/>
            <a:ext cx="218765" cy="161966"/>
          </a:xfrm>
          <a:custGeom>
            <a:avLst/>
            <a:gdLst>
              <a:gd name="connsiteX0" fmla="*/ 305371 w 1442193"/>
              <a:gd name="connsiteY0" fmla="*/ 260653 h 1311522"/>
              <a:gd name="connsiteX1" fmla="*/ 58236 w 1442193"/>
              <a:gd name="connsiteY1" fmla="*/ 507788 h 1311522"/>
              <a:gd name="connsiteX2" fmla="*/ 8809 w 1442193"/>
              <a:gd name="connsiteY2" fmla="*/ 791994 h 1311522"/>
              <a:gd name="connsiteX3" fmla="*/ 194160 w 1442193"/>
              <a:gd name="connsiteY3" fmla="*/ 1039129 h 1311522"/>
              <a:gd name="connsiteX4" fmla="*/ 428938 w 1442193"/>
              <a:gd name="connsiteY4" fmla="*/ 1224480 h 1311522"/>
              <a:gd name="connsiteX5" fmla="*/ 601933 w 1442193"/>
              <a:gd name="connsiteY5" fmla="*/ 1310977 h 1311522"/>
              <a:gd name="connsiteX6" fmla="*/ 923209 w 1442193"/>
              <a:gd name="connsiteY6" fmla="*/ 1187410 h 1311522"/>
              <a:gd name="connsiteX7" fmla="*/ 1306268 w 1442193"/>
              <a:gd name="connsiteY7" fmla="*/ 866134 h 1311522"/>
              <a:gd name="connsiteX8" fmla="*/ 1442193 w 1442193"/>
              <a:gd name="connsiteY8" fmla="*/ 618999 h 1311522"/>
              <a:gd name="connsiteX9" fmla="*/ 1306268 w 1442193"/>
              <a:gd name="connsiteY9" fmla="*/ 334794 h 1311522"/>
              <a:gd name="connsiteX10" fmla="*/ 997349 w 1442193"/>
              <a:gd name="connsiteY10" fmla="*/ 75302 h 1311522"/>
              <a:gd name="connsiteX11" fmla="*/ 688430 w 1442193"/>
              <a:gd name="connsiteY11" fmla="*/ 13518 h 1311522"/>
              <a:gd name="connsiteX12" fmla="*/ 243587 w 1442193"/>
              <a:gd name="connsiteY12" fmla="*/ 297723 h 1311522"/>
              <a:gd name="connsiteX0" fmla="*/ 305371 w 1442193"/>
              <a:gd name="connsiteY0" fmla="*/ 260653 h 1312626"/>
              <a:gd name="connsiteX1" fmla="*/ 58236 w 1442193"/>
              <a:gd name="connsiteY1" fmla="*/ 507788 h 1312626"/>
              <a:gd name="connsiteX2" fmla="*/ 8809 w 1442193"/>
              <a:gd name="connsiteY2" fmla="*/ 791994 h 1312626"/>
              <a:gd name="connsiteX3" fmla="*/ 194160 w 1442193"/>
              <a:gd name="connsiteY3" fmla="*/ 1039129 h 1312626"/>
              <a:gd name="connsiteX4" fmla="*/ 409888 w 1442193"/>
              <a:gd name="connsiteY4" fmla="*/ 1243530 h 1312626"/>
              <a:gd name="connsiteX5" fmla="*/ 601933 w 1442193"/>
              <a:gd name="connsiteY5" fmla="*/ 1310977 h 1312626"/>
              <a:gd name="connsiteX6" fmla="*/ 923209 w 1442193"/>
              <a:gd name="connsiteY6" fmla="*/ 1187410 h 1312626"/>
              <a:gd name="connsiteX7" fmla="*/ 1306268 w 1442193"/>
              <a:gd name="connsiteY7" fmla="*/ 866134 h 1312626"/>
              <a:gd name="connsiteX8" fmla="*/ 1442193 w 1442193"/>
              <a:gd name="connsiteY8" fmla="*/ 618999 h 1312626"/>
              <a:gd name="connsiteX9" fmla="*/ 1306268 w 1442193"/>
              <a:gd name="connsiteY9" fmla="*/ 334794 h 1312626"/>
              <a:gd name="connsiteX10" fmla="*/ 997349 w 1442193"/>
              <a:gd name="connsiteY10" fmla="*/ 75302 h 1312626"/>
              <a:gd name="connsiteX11" fmla="*/ 688430 w 1442193"/>
              <a:gd name="connsiteY11" fmla="*/ 13518 h 1312626"/>
              <a:gd name="connsiteX12" fmla="*/ 243587 w 1442193"/>
              <a:gd name="connsiteY12" fmla="*/ 297723 h 1312626"/>
              <a:gd name="connsiteX0" fmla="*/ 305371 w 1442193"/>
              <a:gd name="connsiteY0" fmla="*/ 260821 h 1312794"/>
              <a:gd name="connsiteX1" fmla="*/ 58236 w 1442193"/>
              <a:gd name="connsiteY1" fmla="*/ 507956 h 1312794"/>
              <a:gd name="connsiteX2" fmla="*/ 8809 w 1442193"/>
              <a:gd name="connsiteY2" fmla="*/ 792162 h 1312794"/>
              <a:gd name="connsiteX3" fmla="*/ 194160 w 1442193"/>
              <a:gd name="connsiteY3" fmla="*/ 1039297 h 1312794"/>
              <a:gd name="connsiteX4" fmla="*/ 409888 w 1442193"/>
              <a:gd name="connsiteY4" fmla="*/ 1243698 h 1312794"/>
              <a:gd name="connsiteX5" fmla="*/ 601933 w 1442193"/>
              <a:gd name="connsiteY5" fmla="*/ 1311145 h 1312794"/>
              <a:gd name="connsiteX6" fmla="*/ 923209 w 1442193"/>
              <a:gd name="connsiteY6" fmla="*/ 1187578 h 1312794"/>
              <a:gd name="connsiteX7" fmla="*/ 1306268 w 1442193"/>
              <a:gd name="connsiteY7" fmla="*/ 866302 h 1312794"/>
              <a:gd name="connsiteX8" fmla="*/ 1442193 w 1442193"/>
              <a:gd name="connsiteY8" fmla="*/ 619167 h 1312794"/>
              <a:gd name="connsiteX9" fmla="*/ 1306268 w 1442193"/>
              <a:gd name="connsiteY9" fmla="*/ 334962 h 1312794"/>
              <a:gd name="connsiteX10" fmla="*/ 997349 w 1442193"/>
              <a:gd name="connsiteY10" fmla="*/ 75470 h 1312794"/>
              <a:gd name="connsiteX11" fmla="*/ 688430 w 1442193"/>
              <a:gd name="connsiteY11" fmla="*/ 13686 h 1312794"/>
              <a:gd name="connsiteX12" fmla="*/ 260256 w 1442193"/>
              <a:gd name="connsiteY12" fmla="*/ 300272 h 1312794"/>
              <a:gd name="connsiteX0" fmla="*/ 305371 w 1442193"/>
              <a:gd name="connsiteY0" fmla="*/ 260654 h 1312627"/>
              <a:gd name="connsiteX1" fmla="*/ 58236 w 1442193"/>
              <a:gd name="connsiteY1" fmla="*/ 507789 h 1312627"/>
              <a:gd name="connsiteX2" fmla="*/ 8809 w 1442193"/>
              <a:gd name="connsiteY2" fmla="*/ 791995 h 1312627"/>
              <a:gd name="connsiteX3" fmla="*/ 194160 w 1442193"/>
              <a:gd name="connsiteY3" fmla="*/ 1039130 h 1312627"/>
              <a:gd name="connsiteX4" fmla="*/ 409888 w 1442193"/>
              <a:gd name="connsiteY4" fmla="*/ 1243531 h 1312627"/>
              <a:gd name="connsiteX5" fmla="*/ 601933 w 1442193"/>
              <a:gd name="connsiteY5" fmla="*/ 1310978 h 1312627"/>
              <a:gd name="connsiteX6" fmla="*/ 923209 w 1442193"/>
              <a:gd name="connsiteY6" fmla="*/ 1187411 h 1312627"/>
              <a:gd name="connsiteX7" fmla="*/ 1306268 w 1442193"/>
              <a:gd name="connsiteY7" fmla="*/ 866135 h 1312627"/>
              <a:gd name="connsiteX8" fmla="*/ 1442193 w 1442193"/>
              <a:gd name="connsiteY8" fmla="*/ 619000 h 1312627"/>
              <a:gd name="connsiteX9" fmla="*/ 1306268 w 1442193"/>
              <a:gd name="connsiteY9" fmla="*/ 334795 h 1312627"/>
              <a:gd name="connsiteX10" fmla="*/ 997349 w 1442193"/>
              <a:gd name="connsiteY10" fmla="*/ 75303 h 1312627"/>
              <a:gd name="connsiteX11" fmla="*/ 688430 w 1442193"/>
              <a:gd name="connsiteY11" fmla="*/ 13519 h 1312627"/>
              <a:gd name="connsiteX12" fmla="*/ 253112 w 1442193"/>
              <a:gd name="connsiteY12" fmla="*/ 297723 h 1312627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295974 w 1442193"/>
              <a:gd name="connsiteY12" fmla="*/ 254400 h 1309785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307881 w 1442193"/>
              <a:gd name="connsiteY12" fmla="*/ 254400 h 1309785"/>
              <a:gd name="connsiteX0" fmla="*/ 305371 w 1442193"/>
              <a:gd name="connsiteY0" fmla="*/ 258143 h 1310116"/>
              <a:gd name="connsiteX1" fmla="*/ 58236 w 1442193"/>
              <a:gd name="connsiteY1" fmla="*/ 505278 h 1310116"/>
              <a:gd name="connsiteX2" fmla="*/ 8809 w 1442193"/>
              <a:gd name="connsiteY2" fmla="*/ 789484 h 1310116"/>
              <a:gd name="connsiteX3" fmla="*/ 194160 w 1442193"/>
              <a:gd name="connsiteY3" fmla="*/ 1036619 h 1310116"/>
              <a:gd name="connsiteX4" fmla="*/ 409888 w 1442193"/>
              <a:gd name="connsiteY4" fmla="*/ 1241020 h 1310116"/>
              <a:gd name="connsiteX5" fmla="*/ 601933 w 1442193"/>
              <a:gd name="connsiteY5" fmla="*/ 1308467 h 1310116"/>
              <a:gd name="connsiteX6" fmla="*/ 923209 w 1442193"/>
              <a:gd name="connsiteY6" fmla="*/ 1184900 h 1310116"/>
              <a:gd name="connsiteX7" fmla="*/ 1306268 w 1442193"/>
              <a:gd name="connsiteY7" fmla="*/ 863624 h 1310116"/>
              <a:gd name="connsiteX8" fmla="*/ 1442193 w 1442193"/>
              <a:gd name="connsiteY8" fmla="*/ 616489 h 1310116"/>
              <a:gd name="connsiteX9" fmla="*/ 1306268 w 1442193"/>
              <a:gd name="connsiteY9" fmla="*/ 332284 h 1310116"/>
              <a:gd name="connsiteX10" fmla="*/ 997349 w 1442193"/>
              <a:gd name="connsiteY10" fmla="*/ 72792 h 1310116"/>
              <a:gd name="connsiteX11" fmla="*/ 688430 w 1442193"/>
              <a:gd name="connsiteY11" fmla="*/ 11008 h 1310116"/>
              <a:gd name="connsiteX12" fmla="*/ 298356 w 1442193"/>
              <a:gd name="connsiteY12" fmla="*/ 259493 h 1310116"/>
              <a:gd name="connsiteX0" fmla="*/ 305371 w 1442193"/>
              <a:gd name="connsiteY0" fmla="*/ 258476 h 1310449"/>
              <a:gd name="connsiteX1" fmla="*/ 58236 w 1442193"/>
              <a:gd name="connsiteY1" fmla="*/ 505611 h 1310449"/>
              <a:gd name="connsiteX2" fmla="*/ 8809 w 1442193"/>
              <a:gd name="connsiteY2" fmla="*/ 789817 h 1310449"/>
              <a:gd name="connsiteX3" fmla="*/ 194160 w 1442193"/>
              <a:gd name="connsiteY3" fmla="*/ 1036952 h 1310449"/>
              <a:gd name="connsiteX4" fmla="*/ 409888 w 1442193"/>
              <a:gd name="connsiteY4" fmla="*/ 1241353 h 1310449"/>
              <a:gd name="connsiteX5" fmla="*/ 601933 w 1442193"/>
              <a:gd name="connsiteY5" fmla="*/ 1308800 h 1310449"/>
              <a:gd name="connsiteX6" fmla="*/ 923209 w 1442193"/>
              <a:gd name="connsiteY6" fmla="*/ 1185233 h 1310449"/>
              <a:gd name="connsiteX7" fmla="*/ 1306268 w 1442193"/>
              <a:gd name="connsiteY7" fmla="*/ 863957 h 1310449"/>
              <a:gd name="connsiteX8" fmla="*/ 1442193 w 1442193"/>
              <a:gd name="connsiteY8" fmla="*/ 616822 h 1310449"/>
              <a:gd name="connsiteX9" fmla="*/ 1306268 w 1442193"/>
              <a:gd name="connsiteY9" fmla="*/ 332617 h 1310449"/>
              <a:gd name="connsiteX10" fmla="*/ 997349 w 1442193"/>
              <a:gd name="connsiteY10" fmla="*/ 73125 h 1310449"/>
              <a:gd name="connsiteX11" fmla="*/ 688430 w 1442193"/>
              <a:gd name="connsiteY11" fmla="*/ 11341 h 1310449"/>
              <a:gd name="connsiteX12" fmla="*/ 295975 w 1442193"/>
              <a:gd name="connsiteY12" fmla="*/ 264589 h 1310449"/>
              <a:gd name="connsiteX0" fmla="*/ 305371 w 1442193"/>
              <a:gd name="connsiteY0" fmla="*/ 258476 h 1332161"/>
              <a:gd name="connsiteX1" fmla="*/ 58236 w 1442193"/>
              <a:gd name="connsiteY1" fmla="*/ 505611 h 1332161"/>
              <a:gd name="connsiteX2" fmla="*/ 8809 w 1442193"/>
              <a:gd name="connsiteY2" fmla="*/ 789817 h 1332161"/>
              <a:gd name="connsiteX3" fmla="*/ 194160 w 1442193"/>
              <a:gd name="connsiteY3" fmla="*/ 1036952 h 1332161"/>
              <a:gd name="connsiteX4" fmla="*/ 409888 w 1442193"/>
              <a:gd name="connsiteY4" fmla="*/ 1241353 h 1332161"/>
              <a:gd name="connsiteX5" fmla="*/ 627333 w 1442193"/>
              <a:gd name="connsiteY5" fmla="*/ 1331025 h 1332161"/>
              <a:gd name="connsiteX6" fmla="*/ 923209 w 1442193"/>
              <a:gd name="connsiteY6" fmla="*/ 1185233 h 1332161"/>
              <a:gd name="connsiteX7" fmla="*/ 1306268 w 1442193"/>
              <a:gd name="connsiteY7" fmla="*/ 863957 h 1332161"/>
              <a:gd name="connsiteX8" fmla="*/ 1442193 w 1442193"/>
              <a:gd name="connsiteY8" fmla="*/ 616822 h 1332161"/>
              <a:gd name="connsiteX9" fmla="*/ 1306268 w 1442193"/>
              <a:gd name="connsiteY9" fmla="*/ 332617 h 1332161"/>
              <a:gd name="connsiteX10" fmla="*/ 997349 w 1442193"/>
              <a:gd name="connsiteY10" fmla="*/ 73125 h 1332161"/>
              <a:gd name="connsiteX11" fmla="*/ 688430 w 1442193"/>
              <a:gd name="connsiteY11" fmla="*/ 11341 h 1332161"/>
              <a:gd name="connsiteX12" fmla="*/ 295975 w 1442193"/>
              <a:gd name="connsiteY12" fmla="*/ 264589 h 1332161"/>
              <a:gd name="connsiteX0" fmla="*/ 305371 w 1435843"/>
              <a:gd name="connsiteY0" fmla="*/ 258476 h 1332161"/>
              <a:gd name="connsiteX1" fmla="*/ 58236 w 1435843"/>
              <a:gd name="connsiteY1" fmla="*/ 505611 h 1332161"/>
              <a:gd name="connsiteX2" fmla="*/ 8809 w 1435843"/>
              <a:gd name="connsiteY2" fmla="*/ 789817 h 1332161"/>
              <a:gd name="connsiteX3" fmla="*/ 194160 w 1435843"/>
              <a:gd name="connsiteY3" fmla="*/ 1036952 h 1332161"/>
              <a:gd name="connsiteX4" fmla="*/ 409888 w 1435843"/>
              <a:gd name="connsiteY4" fmla="*/ 1241353 h 1332161"/>
              <a:gd name="connsiteX5" fmla="*/ 627333 w 1435843"/>
              <a:gd name="connsiteY5" fmla="*/ 1331025 h 1332161"/>
              <a:gd name="connsiteX6" fmla="*/ 923209 w 1435843"/>
              <a:gd name="connsiteY6" fmla="*/ 1185233 h 1332161"/>
              <a:gd name="connsiteX7" fmla="*/ 1306268 w 1435843"/>
              <a:gd name="connsiteY7" fmla="*/ 863957 h 1332161"/>
              <a:gd name="connsiteX8" fmla="*/ 1435843 w 1435843"/>
              <a:gd name="connsiteY8" fmla="*/ 623172 h 1332161"/>
              <a:gd name="connsiteX9" fmla="*/ 1306268 w 1435843"/>
              <a:gd name="connsiteY9" fmla="*/ 332617 h 1332161"/>
              <a:gd name="connsiteX10" fmla="*/ 997349 w 1435843"/>
              <a:gd name="connsiteY10" fmla="*/ 73125 h 1332161"/>
              <a:gd name="connsiteX11" fmla="*/ 688430 w 1435843"/>
              <a:gd name="connsiteY11" fmla="*/ 11341 h 1332161"/>
              <a:gd name="connsiteX12" fmla="*/ 295975 w 1435843"/>
              <a:gd name="connsiteY12" fmla="*/ 264589 h 1332161"/>
              <a:gd name="connsiteX0" fmla="*/ 305371 w 1435847"/>
              <a:gd name="connsiteY0" fmla="*/ 258622 h 1332307"/>
              <a:gd name="connsiteX1" fmla="*/ 58236 w 1435847"/>
              <a:gd name="connsiteY1" fmla="*/ 505757 h 1332307"/>
              <a:gd name="connsiteX2" fmla="*/ 8809 w 1435847"/>
              <a:gd name="connsiteY2" fmla="*/ 789963 h 1332307"/>
              <a:gd name="connsiteX3" fmla="*/ 194160 w 1435847"/>
              <a:gd name="connsiteY3" fmla="*/ 1037098 h 1332307"/>
              <a:gd name="connsiteX4" fmla="*/ 409888 w 1435847"/>
              <a:gd name="connsiteY4" fmla="*/ 1241499 h 1332307"/>
              <a:gd name="connsiteX5" fmla="*/ 627333 w 1435847"/>
              <a:gd name="connsiteY5" fmla="*/ 1331171 h 1332307"/>
              <a:gd name="connsiteX6" fmla="*/ 923209 w 1435847"/>
              <a:gd name="connsiteY6" fmla="*/ 1185379 h 1332307"/>
              <a:gd name="connsiteX7" fmla="*/ 1306268 w 1435847"/>
              <a:gd name="connsiteY7" fmla="*/ 864103 h 1332307"/>
              <a:gd name="connsiteX8" fmla="*/ 1435843 w 1435847"/>
              <a:gd name="connsiteY8" fmla="*/ 623318 h 1332307"/>
              <a:gd name="connsiteX9" fmla="*/ 1303093 w 1435847"/>
              <a:gd name="connsiteY9" fmla="*/ 339113 h 1332307"/>
              <a:gd name="connsiteX10" fmla="*/ 997349 w 1435847"/>
              <a:gd name="connsiteY10" fmla="*/ 73271 h 1332307"/>
              <a:gd name="connsiteX11" fmla="*/ 688430 w 1435847"/>
              <a:gd name="connsiteY11" fmla="*/ 11487 h 1332307"/>
              <a:gd name="connsiteX12" fmla="*/ 295975 w 1435847"/>
              <a:gd name="connsiteY12" fmla="*/ 264735 h 1332307"/>
              <a:gd name="connsiteX0" fmla="*/ 305371 w 1435847"/>
              <a:gd name="connsiteY0" fmla="*/ 257598 h 1331283"/>
              <a:gd name="connsiteX1" fmla="*/ 58236 w 1435847"/>
              <a:gd name="connsiteY1" fmla="*/ 504733 h 1331283"/>
              <a:gd name="connsiteX2" fmla="*/ 8809 w 1435847"/>
              <a:gd name="connsiteY2" fmla="*/ 788939 h 1331283"/>
              <a:gd name="connsiteX3" fmla="*/ 194160 w 1435847"/>
              <a:gd name="connsiteY3" fmla="*/ 1036074 h 1331283"/>
              <a:gd name="connsiteX4" fmla="*/ 409888 w 1435847"/>
              <a:gd name="connsiteY4" fmla="*/ 1240475 h 1331283"/>
              <a:gd name="connsiteX5" fmla="*/ 627333 w 1435847"/>
              <a:gd name="connsiteY5" fmla="*/ 1330147 h 1331283"/>
              <a:gd name="connsiteX6" fmla="*/ 923209 w 1435847"/>
              <a:gd name="connsiteY6" fmla="*/ 1184355 h 1331283"/>
              <a:gd name="connsiteX7" fmla="*/ 1306268 w 1435847"/>
              <a:gd name="connsiteY7" fmla="*/ 863079 h 1331283"/>
              <a:gd name="connsiteX8" fmla="*/ 1435843 w 1435847"/>
              <a:gd name="connsiteY8" fmla="*/ 622294 h 1331283"/>
              <a:gd name="connsiteX9" fmla="*/ 1303093 w 1435847"/>
              <a:gd name="connsiteY9" fmla="*/ 338089 h 1331283"/>
              <a:gd name="connsiteX10" fmla="*/ 1016399 w 1435847"/>
              <a:gd name="connsiteY10" fmla="*/ 77010 h 1331283"/>
              <a:gd name="connsiteX11" fmla="*/ 688430 w 1435847"/>
              <a:gd name="connsiteY11" fmla="*/ 10463 h 1331283"/>
              <a:gd name="connsiteX12" fmla="*/ 295975 w 1435847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16399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36043" h="1331283">
                <a:moveTo>
                  <a:pt x="305371" y="257598"/>
                </a:moveTo>
                <a:cubicBezTo>
                  <a:pt x="206517" y="336887"/>
                  <a:pt x="107663" y="416176"/>
                  <a:pt x="58236" y="504733"/>
                </a:cubicBezTo>
                <a:cubicBezTo>
                  <a:pt x="8809" y="593290"/>
                  <a:pt x="-13845" y="700382"/>
                  <a:pt x="8809" y="788939"/>
                </a:cubicBezTo>
                <a:cubicBezTo>
                  <a:pt x="31463" y="877496"/>
                  <a:pt x="127313" y="960818"/>
                  <a:pt x="194160" y="1036074"/>
                </a:cubicBezTo>
                <a:cubicBezTo>
                  <a:pt x="261007" y="1111330"/>
                  <a:pt x="337692" y="1191463"/>
                  <a:pt x="409888" y="1240475"/>
                </a:cubicBezTo>
                <a:cubicBezTo>
                  <a:pt x="482084" y="1289487"/>
                  <a:pt x="541780" y="1339500"/>
                  <a:pt x="627333" y="1330147"/>
                </a:cubicBezTo>
                <a:cubicBezTo>
                  <a:pt x="712886" y="1320794"/>
                  <a:pt x="810053" y="1262200"/>
                  <a:pt x="923209" y="1184355"/>
                </a:cubicBezTo>
                <a:cubicBezTo>
                  <a:pt x="1036365" y="1106510"/>
                  <a:pt x="1220829" y="956756"/>
                  <a:pt x="1306268" y="863079"/>
                </a:cubicBezTo>
                <a:cubicBezTo>
                  <a:pt x="1391707" y="769402"/>
                  <a:pt x="1439547" y="709792"/>
                  <a:pt x="1435843" y="622294"/>
                </a:cubicBezTo>
                <a:cubicBezTo>
                  <a:pt x="1432139" y="534796"/>
                  <a:pt x="1379351" y="452783"/>
                  <a:pt x="1284043" y="338089"/>
                </a:cubicBezTo>
                <a:cubicBezTo>
                  <a:pt x="1188735" y="223395"/>
                  <a:pt x="1106143" y="131614"/>
                  <a:pt x="1006874" y="77010"/>
                </a:cubicBezTo>
                <a:cubicBezTo>
                  <a:pt x="907605" y="22406"/>
                  <a:pt x="806913" y="-20654"/>
                  <a:pt x="688430" y="10463"/>
                </a:cubicBezTo>
                <a:cubicBezTo>
                  <a:pt x="569947" y="41580"/>
                  <a:pt x="455583" y="140143"/>
                  <a:pt x="295975" y="263711"/>
                </a:cubicBezTo>
              </a:path>
            </a:pathLst>
          </a:custGeom>
          <a:solidFill>
            <a:srgbClr val="ED7D31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anchor="ctr"/>
          <a:lstStyle/>
          <a:p>
            <a:pPr marL="0" marR="0" lvl="0" indent="0" algn="ctr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81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Flexo Medium" pitchFamily="50" charset="0"/>
              <a:cs typeface="Arial" pitchFamily="34" charset="0"/>
            </a:endParaRPr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19DA25D9-BA6A-4071-B03C-5AE121A44357}"/>
              </a:ext>
            </a:extLst>
          </p:cNvPr>
          <p:cNvSpPr>
            <a:spLocks noChangeAspect="1"/>
          </p:cNvSpPr>
          <p:nvPr userDrawn="1"/>
        </p:nvSpPr>
        <p:spPr>
          <a:xfrm>
            <a:off x="2203008" y="6654391"/>
            <a:ext cx="218765" cy="161966"/>
          </a:xfrm>
          <a:custGeom>
            <a:avLst/>
            <a:gdLst>
              <a:gd name="connsiteX0" fmla="*/ 305371 w 1442193"/>
              <a:gd name="connsiteY0" fmla="*/ 260653 h 1311522"/>
              <a:gd name="connsiteX1" fmla="*/ 58236 w 1442193"/>
              <a:gd name="connsiteY1" fmla="*/ 507788 h 1311522"/>
              <a:gd name="connsiteX2" fmla="*/ 8809 w 1442193"/>
              <a:gd name="connsiteY2" fmla="*/ 791994 h 1311522"/>
              <a:gd name="connsiteX3" fmla="*/ 194160 w 1442193"/>
              <a:gd name="connsiteY3" fmla="*/ 1039129 h 1311522"/>
              <a:gd name="connsiteX4" fmla="*/ 428938 w 1442193"/>
              <a:gd name="connsiteY4" fmla="*/ 1224480 h 1311522"/>
              <a:gd name="connsiteX5" fmla="*/ 601933 w 1442193"/>
              <a:gd name="connsiteY5" fmla="*/ 1310977 h 1311522"/>
              <a:gd name="connsiteX6" fmla="*/ 923209 w 1442193"/>
              <a:gd name="connsiteY6" fmla="*/ 1187410 h 1311522"/>
              <a:gd name="connsiteX7" fmla="*/ 1306268 w 1442193"/>
              <a:gd name="connsiteY7" fmla="*/ 866134 h 1311522"/>
              <a:gd name="connsiteX8" fmla="*/ 1442193 w 1442193"/>
              <a:gd name="connsiteY8" fmla="*/ 618999 h 1311522"/>
              <a:gd name="connsiteX9" fmla="*/ 1306268 w 1442193"/>
              <a:gd name="connsiteY9" fmla="*/ 334794 h 1311522"/>
              <a:gd name="connsiteX10" fmla="*/ 997349 w 1442193"/>
              <a:gd name="connsiteY10" fmla="*/ 75302 h 1311522"/>
              <a:gd name="connsiteX11" fmla="*/ 688430 w 1442193"/>
              <a:gd name="connsiteY11" fmla="*/ 13518 h 1311522"/>
              <a:gd name="connsiteX12" fmla="*/ 243587 w 1442193"/>
              <a:gd name="connsiteY12" fmla="*/ 297723 h 1311522"/>
              <a:gd name="connsiteX0" fmla="*/ 305371 w 1442193"/>
              <a:gd name="connsiteY0" fmla="*/ 260653 h 1312626"/>
              <a:gd name="connsiteX1" fmla="*/ 58236 w 1442193"/>
              <a:gd name="connsiteY1" fmla="*/ 507788 h 1312626"/>
              <a:gd name="connsiteX2" fmla="*/ 8809 w 1442193"/>
              <a:gd name="connsiteY2" fmla="*/ 791994 h 1312626"/>
              <a:gd name="connsiteX3" fmla="*/ 194160 w 1442193"/>
              <a:gd name="connsiteY3" fmla="*/ 1039129 h 1312626"/>
              <a:gd name="connsiteX4" fmla="*/ 409888 w 1442193"/>
              <a:gd name="connsiteY4" fmla="*/ 1243530 h 1312626"/>
              <a:gd name="connsiteX5" fmla="*/ 601933 w 1442193"/>
              <a:gd name="connsiteY5" fmla="*/ 1310977 h 1312626"/>
              <a:gd name="connsiteX6" fmla="*/ 923209 w 1442193"/>
              <a:gd name="connsiteY6" fmla="*/ 1187410 h 1312626"/>
              <a:gd name="connsiteX7" fmla="*/ 1306268 w 1442193"/>
              <a:gd name="connsiteY7" fmla="*/ 866134 h 1312626"/>
              <a:gd name="connsiteX8" fmla="*/ 1442193 w 1442193"/>
              <a:gd name="connsiteY8" fmla="*/ 618999 h 1312626"/>
              <a:gd name="connsiteX9" fmla="*/ 1306268 w 1442193"/>
              <a:gd name="connsiteY9" fmla="*/ 334794 h 1312626"/>
              <a:gd name="connsiteX10" fmla="*/ 997349 w 1442193"/>
              <a:gd name="connsiteY10" fmla="*/ 75302 h 1312626"/>
              <a:gd name="connsiteX11" fmla="*/ 688430 w 1442193"/>
              <a:gd name="connsiteY11" fmla="*/ 13518 h 1312626"/>
              <a:gd name="connsiteX12" fmla="*/ 243587 w 1442193"/>
              <a:gd name="connsiteY12" fmla="*/ 297723 h 1312626"/>
              <a:gd name="connsiteX0" fmla="*/ 305371 w 1442193"/>
              <a:gd name="connsiteY0" fmla="*/ 260821 h 1312794"/>
              <a:gd name="connsiteX1" fmla="*/ 58236 w 1442193"/>
              <a:gd name="connsiteY1" fmla="*/ 507956 h 1312794"/>
              <a:gd name="connsiteX2" fmla="*/ 8809 w 1442193"/>
              <a:gd name="connsiteY2" fmla="*/ 792162 h 1312794"/>
              <a:gd name="connsiteX3" fmla="*/ 194160 w 1442193"/>
              <a:gd name="connsiteY3" fmla="*/ 1039297 h 1312794"/>
              <a:gd name="connsiteX4" fmla="*/ 409888 w 1442193"/>
              <a:gd name="connsiteY4" fmla="*/ 1243698 h 1312794"/>
              <a:gd name="connsiteX5" fmla="*/ 601933 w 1442193"/>
              <a:gd name="connsiteY5" fmla="*/ 1311145 h 1312794"/>
              <a:gd name="connsiteX6" fmla="*/ 923209 w 1442193"/>
              <a:gd name="connsiteY6" fmla="*/ 1187578 h 1312794"/>
              <a:gd name="connsiteX7" fmla="*/ 1306268 w 1442193"/>
              <a:gd name="connsiteY7" fmla="*/ 866302 h 1312794"/>
              <a:gd name="connsiteX8" fmla="*/ 1442193 w 1442193"/>
              <a:gd name="connsiteY8" fmla="*/ 619167 h 1312794"/>
              <a:gd name="connsiteX9" fmla="*/ 1306268 w 1442193"/>
              <a:gd name="connsiteY9" fmla="*/ 334962 h 1312794"/>
              <a:gd name="connsiteX10" fmla="*/ 997349 w 1442193"/>
              <a:gd name="connsiteY10" fmla="*/ 75470 h 1312794"/>
              <a:gd name="connsiteX11" fmla="*/ 688430 w 1442193"/>
              <a:gd name="connsiteY11" fmla="*/ 13686 h 1312794"/>
              <a:gd name="connsiteX12" fmla="*/ 260256 w 1442193"/>
              <a:gd name="connsiteY12" fmla="*/ 300272 h 1312794"/>
              <a:gd name="connsiteX0" fmla="*/ 305371 w 1442193"/>
              <a:gd name="connsiteY0" fmla="*/ 260654 h 1312627"/>
              <a:gd name="connsiteX1" fmla="*/ 58236 w 1442193"/>
              <a:gd name="connsiteY1" fmla="*/ 507789 h 1312627"/>
              <a:gd name="connsiteX2" fmla="*/ 8809 w 1442193"/>
              <a:gd name="connsiteY2" fmla="*/ 791995 h 1312627"/>
              <a:gd name="connsiteX3" fmla="*/ 194160 w 1442193"/>
              <a:gd name="connsiteY3" fmla="*/ 1039130 h 1312627"/>
              <a:gd name="connsiteX4" fmla="*/ 409888 w 1442193"/>
              <a:gd name="connsiteY4" fmla="*/ 1243531 h 1312627"/>
              <a:gd name="connsiteX5" fmla="*/ 601933 w 1442193"/>
              <a:gd name="connsiteY5" fmla="*/ 1310978 h 1312627"/>
              <a:gd name="connsiteX6" fmla="*/ 923209 w 1442193"/>
              <a:gd name="connsiteY6" fmla="*/ 1187411 h 1312627"/>
              <a:gd name="connsiteX7" fmla="*/ 1306268 w 1442193"/>
              <a:gd name="connsiteY7" fmla="*/ 866135 h 1312627"/>
              <a:gd name="connsiteX8" fmla="*/ 1442193 w 1442193"/>
              <a:gd name="connsiteY8" fmla="*/ 619000 h 1312627"/>
              <a:gd name="connsiteX9" fmla="*/ 1306268 w 1442193"/>
              <a:gd name="connsiteY9" fmla="*/ 334795 h 1312627"/>
              <a:gd name="connsiteX10" fmla="*/ 997349 w 1442193"/>
              <a:gd name="connsiteY10" fmla="*/ 75303 h 1312627"/>
              <a:gd name="connsiteX11" fmla="*/ 688430 w 1442193"/>
              <a:gd name="connsiteY11" fmla="*/ 13519 h 1312627"/>
              <a:gd name="connsiteX12" fmla="*/ 253112 w 1442193"/>
              <a:gd name="connsiteY12" fmla="*/ 297723 h 1312627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295974 w 1442193"/>
              <a:gd name="connsiteY12" fmla="*/ 254400 h 1309785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307881 w 1442193"/>
              <a:gd name="connsiteY12" fmla="*/ 254400 h 1309785"/>
              <a:gd name="connsiteX0" fmla="*/ 305371 w 1442193"/>
              <a:gd name="connsiteY0" fmla="*/ 258143 h 1310116"/>
              <a:gd name="connsiteX1" fmla="*/ 58236 w 1442193"/>
              <a:gd name="connsiteY1" fmla="*/ 505278 h 1310116"/>
              <a:gd name="connsiteX2" fmla="*/ 8809 w 1442193"/>
              <a:gd name="connsiteY2" fmla="*/ 789484 h 1310116"/>
              <a:gd name="connsiteX3" fmla="*/ 194160 w 1442193"/>
              <a:gd name="connsiteY3" fmla="*/ 1036619 h 1310116"/>
              <a:gd name="connsiteX4" fmla="*/ 409888 w 1442193"/>
              <a:gd name="connsiteY4" fmla="*/ 1241020 h 1310116"/>
              <a:gd name="connsiteX5" fmla="*/ 601933 w 1442193"/>
              <a:gd name="connsiteY5" fmla="*/ 1308467 h 1310116"/>
              <a:gd name="connsiteX6" fmla="*/ 923209 w 1442193"/>
              <a:gd name="connsiteY6" fmla="*/ 1184900 h 1310116"/>
              <a:gd name="connsiteX7" fmla="*/ 1306268 w 1442193"/>
              <a:gd name="connsiteY7" fmla="*/ 863624 h 1310116"/>
              <a:gd name="connsiteX8" fmla="*/ 1442193 w 1442193"/>
              <a:gd name="connsiteY8" fmla="*/ 616489 h 1310116"/>
              <a:gd name="connsiteX9" fmla="*/ 1306268 w 1442193"/>
              <a:gd name="connsiteY9" fmla="*/ 332284 h 1310116"/>
              <a:gd name="connsiteX10" fmla="*/ 997349 w 1442193"/>
              <a:gd name="connsiteY10" fmla="*/ 72792 h 1310116"/>
              <a:gd name="connsiteX11" fmla="*/ 688430 w 1442193"/>
              <a:gd name="connsiteY11" fmla="*/ 11008 h 1310116"/>
              <a:gd name="connsiteX12" fmla="*/ 298356 w 1442193"/>
              <a:gd name="connsiteY12" fmla="*/ 259493 h 1310116"/>
              <a:gd name="connsiteX0" fmla="*/ 305371 w 1442193"/>
              <a:gd name="connsiteY0" fmla="*/ 258476 h 1310449"/>
              <a:gd name="connsiteX1" fmla="*/ 58236 w 1442193"/>
              <a:gd name="connsiteY1" fmla="*/ 505611 h 1310449"/>
              <a:gd name="connsiteX2" fmla="*/ 8809 w 1442193"/>
              <a:gd name="connsiteY2" fmla="*/ 789817 h 1310449"/>
              <a:gd name="connsiteX3" fmla="*/ 194160 w 1442193"/>
              <a:gd name="connsiteY3" fmla="*/ 1036952 h 1310449"/>
              <a:gd name="connsiteX4" fmla="*/ 409888 w 1442193"/>
              <a:gd name="connsiteY4" fmla="*/ 1241353 h 1310449"/>
              <a:gd name="connsiteX5" fmla="*/ 601933 w 1442193"/>
              <a:gd name="connsiteY5" fmla="*/ 1308800 h 1310449"/>
              <a:gd name="connsiteX6" fmla="*/ 923209 w 1442193"/>
              <a:gd name="connsiteY6" fmla="*/ 1185233 h 1310449"/>
              <a:gd name="connsiteX7" fmla="*/ 1306268 w 1442193"/>
              <a:gd name="connsiteY7" fmla="*/ 863957 h 1310449"/>
              <a:gd name="connsiteX8" fmla="*/ 1442193 w 1442193"/>
              <a:gd name="connsiteY8" fmla="*/ 616822 h 1310449"/>
              <a:gd name="connsiteX9" fmla="*/ 1306268 w 1442193"/>
              <a:gd name="connsiteY9" fmla="*/ 332617 h 1310449"/>
              <a:gd name="connsiteX10" fmla="*/ 997349 w 1442193"/>
              <a:gd name="connsiteY10" fmla="*/ 73125 h 1310449"/>
              <a:gd name="connsiteX11" fmla="*/ 688430 w 1442193"/>
              <a:gd name="connsiteY11" fmla="*/ 11341 h 1310449"/>
              <a:gd name="connsiteX12" fmla="*/ 295975 w 1442193"/>
              <a:gd name="connsiteY12" fmla="*/ 264589 h 1310449"/>
              <a:gd name="connsiteX0" fmla="*/ 305371 w 1442193"/>
              <a:gd name="connsiteY0" fmla="*/ 258476 h 1332161"/>
              <a:gd name="connsiteX1" fmla="*/ 58236 w 1442193"/>
              <a:gd name="connsiteY1" fmla="*/ 505611 h 1332161"/>
              <a:gd name="connsiteX2" fmla="*/ 8809 w 1442193"/>
              <a:gd name="connsiteY2" fmla="*/ 789817 h 1332161"/>
              <a:gd name="connsiteX3" fmla="*/ 194160 w 1442193"/>
              <a:gd name="connsiteY3" fmla="*/ 1036952 h 1332161"/>
              <a:gd name="connsiteX4" fmla="*/ 409888 w 1442193"/>
              <a:gd name="connsiteY4" fmla="*/ 1241353 h 1332161"/>
              <a:gd name="connsiteX5" fmla="*/ 627333 w 1442193"/>
              <a:gd name="connsiteY5" fmla="*/ 1331025 h 1332161"/>
              <a:gd name="connsiteX6" fmla="*/ 923209 w 1442193"/>
              <a:gd name="connsiteY6" fmla="*/ 1185233 h 1332161"/>
              <a:gd name="connsiteX7" fmla="*/ 1306268 w 1442193"/>
              <a:gd name="connsiteY7" fmla="*/ 863957 h 1332161"/>
              <a:gd name="connsiteX8" fmla="*/ 1442193 w 1442193"/>
              <a:gd name="connsiteY8" fmla="*/ 616822 h 1332161"/>
              <a:gd name="connsiteX9" fmla="*/ 1306268 w 1442193"/>
              <a:gd name="connsiteY9" fmla="*/ 332617 h 1332161"/>
              <a:gd name="connsiteX10" fmla="*/ 997349 w 1442193"/>
              <a:gd name="connsiteY10" fmla="*/ 73125 h 1332161"/>
              <a:gd name="connsiteX11" fmla="*/ 688430 w 1442193"/>
              <a:gd name="connsiteY11" fmla="*/ 11341 h 1332161"/>
              <a:gd name="connsiteX12" fmla="*/ 295975 w 1442193"/>
              <a:gd name="connsiteY12" fmla="*/ 264589 h 1332161"/>
              <a:gd name="connsiteX0" fmla="*/ 305371 w 1435843"/>
              <a:gd name="connsiteY0" fmla="*/ 258476 h 1332161"/>
              <a:gd name="connsiteX1" fmla="*/ 58236 w 1435843"/>
              <a:gd name="connsiteY1" fmla="*/ 505611 h 1332161"/>
              <a:gd name="connsiteX2" fmla="*/ 8809 w 1435843"/>
              <a:gd name="connsiteY2" fmla="*/ 789817 h 1332161"/>
              <a:gd name="connsiteX3" fmla="*/ 194160 w 1435843"/>
              <a:gd name="connsiteY3" fmla="*/ 1036952 h 1332161"/>
              <a:gd name="connsiteX4" fmla="*/ 409888 w 1435843"/>
              <a:gd name="connsiteY4" fmla="*/ 1241353 h 1332161"/>
              <a:gd name="connsiteX5" fmla="*/ 627333 w 1435843"/>
              <a:gd name="connsiteY5" fmla="*/ 1331025 h 1332161"/>
              <a:gd name="connsiteX6" fmla="*/ 923209 w 1435843"/>
              <a:gd name="connsiteY6" fmla="*/ 1185233 h 1332161"/>
              <a:gd name="connsiteX7" fmla="*/ 1306268 w 1435843"/>
              <a:gd name="connsiteY7" fmla="*/ 863957 h 1332161"/>
              <a:gd name="connsiteX8" fmla="*/ 1435843 w 1435843"/>
              <a:gd name="connsiteY8" fmla="*/ 623172 h 1332161"/>
              <a:gd name="connsiteX9" fmla="*/ 1306268 w 1435843"/>
              <a:gd name="connsiteY9" fmla="*/ 332617 h 1332161"/>
              <a:gd name="connsiteX10" fmla="*/ 997349 w 1435843"/>
              <a:gd name="connsiteY10" fmla="*/ 73125 h 1332161"/>
              <a:gd name="connsiteX11" fmla="*/ 688430 w 1435843"/>
              <a:gd name="connsiteY11" fmla="*/ 11341 h 1332161"/>
              <a:gd name="connsiteX12" fmla="*/ 295975 w 1435843"/>
              <a:gd name="connsiteY12" fmla="*/ 264589 h 1332161"/>
              <a:gd name="connsiteX0" fmla="*/ 305371 w 1435847"/>
              <a:gd name="connsiteY0" fmla="*/ 258622 h 1332307"/>
              <a:gd name="connsiteX1" fmla="*/ 58236 w 1435847"/>
              <a:gd name="connsiteY1" fmla="*/ 505757 h 1332307"/>
              <a:gd name="connsiteX2" fmla="*/ 8809 w 1435847"/>
              <a:gd name="connsiteY2" fmla="*/ 789963 h 1332307"/>
              <a:gd name="connsiteX3" fmla="*/ 194160 w 1435847"/>
              <a:gd name="connsiteY3" fmla="*/ 1037098 h 1332307"/>
              <a:gd name="connsiteX4" fmla="*/ 409888 w 1435847"/>
              <a:gd name="connsiteY4" fmla="*/ 1241499 h 1332307"/>
              <a:gd name="connsiteX5" fmla="*/ 627333 w 1435847"/>
              <a:gd name="connsiteY5" fmla="*/ 1331171 h 1332307"/>
              <a:gd name="connsiteX6" fmla="*/ 923209 w 1435847"/>
              <a:gd name="connsiteY6" fmla="*/ 1185379 h 1332307"/>
              <a:gd name="connsiteX7" fmla="*/ 1306268 w 1435847"/>
              <a:gd name="connsiteY7" fmla="*/ 864103 h 1332307"/>
              <a:gd name="connsiteX8" fmla="*/ 1435843 w 1435847"/>
              <a:gd name="connsiteY8" fmla="*/ 623318 h 1332307"/>
              <a:gd name="connsiteX9" fmla="*/ 1303093 w 1435847"/>
              <a:gd name="connsiteY9" fmla="*/ 339113 h 1332307"/>
              <a:gd name="connsiteX10" fmla="*/ 997349 w 1435847"/>
              <a:gd name="connsiteY10" fmla="*/ 73271 h 1332307"/>
              <a:gd name="connsiteX11" fmla="*/ 688430 w 1435847"/>
              <a:gd name="connsiteY11" fmla="*/ 11487 h 1332307"/>
              <a:gd name="connsiteX12" fmla="*/ 295975 w 1435847"/>
              <a:gd name="connsiteY12" fmla="*/ 264735 h 1332307"/>
              <a:gd name="connsiteX0" fmla="*/ 305371 w 1435847"/>
              <a:gd name="connsiteY0" fmla="*/ 257598 h 1331283"/>
              <a:gd name="connsiteX1" fmla="*/ 58236 w 1435847"/>
              <a:gd name="connsiteY1" fmla="*/ 504733 h 1331283"/>
              <a:gd name="connsiteX2" fmla="*/ 8809 w 1435847"/>
              <a:gd name="connsiteY2" fmla="*/ 788939 h 1331283"/>
              <a:gd name="connsiteX3" fmla="*/ 194160 w 1435847"/>
              <a:gd name="connsiteY3" fmla="*/ 1036074 h 1331283"/>
              <a:gd name="connsiteX4" fmla="*/ 409888 w 1435847"/>
              <a:gd name="connsiteY4" fmla="*/ 1240475 h 1331283"/>
              <a:gd name="connsiteX5" fmla="*/ 627333 w 1435847"/>
              <a:gd name="connsiteY5" fmla="*/ 1330147 h 1331283"/>
              <a:gd name="connsiteX6" fmla="*/ 923209 w 1435847"/>
              <a:gd name="connsiteY6" fmla="*/ 1184355 h 1331283"/>
              <a:gd name="connsiteX7" fmla="*/ 1306268 w 1435847"/>
              <a:gd name="connsiteY7" fmla="*/ 863079 h 1331283"/>
              <a:gd name="connsiteX8" fmla="*/ 1435843 w 1435847"/>
              <a:gd name="connsiteY8" fmla="*/ 622294 h 1331283"/>
              <a:gd name="connsiteX9" fmla="*/ 1303093 w 1435847"/>
              <a:gd name="connsiteY9" fmla="*/ 338089 h 1331283"/>
              <a:gd name="connsiteX10" fmla="*/ 1016399 w 1435847"/>
              <a:gd name="connsiteY10" fmla="*/ 77010 h 1331283"/>
              <a:gd name="connsiteX11" fmla="*/ 688430 w 1435847"/>
              <a:gd name="connsiteY11" fmla="*/ 10463 h 1331283"/>
              <a:gd name="connsiteX12" fmla="*/ 295975 w 1435847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16399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36043" h="1331283">
                <a:moveTo>
                  <a:pt x="305371" y="257598"/>
                </a:moveTo>
                <a:cubicBezTo>
                  <a:pt x="206517" y="336887"/>
                  <a:pt x="107663" y="416176"/>
                  <a:pt x="58236" y="504733"/>
                </a:cubicBezTo>
                <a:cubicBezTo>
                  <a:pt x="8809" y="593290"/>
                  <a:pt x="-13845" y="700382"/>
                  <a:pt x="8809" y="788939"/>
                </a:cubicBezTo>
                <a:cubicBezTo>
                  <a:pt x="31463" y="877496"/>
                  <a:pt x="127313" y="960818"/>
                  <a:pt x="194160" y="1036074"/>
                </a:cubicBezTo>
                <a:cubicBezTo>
                  <a:pt x="261007" y="1111330"/>
                  <a:pt x="337692" y="1191463"/>
                  <a:pt x="409888" y="1240475"/>
                </a:cubicBezTo>
                <a:cubicBezTo>
                  <a:pt x="482084" y="1289487"/>
                  <a:pt x="541780" y="1339500"/>
                  <a:pt x="627333" y="1330147"/>
                </a:cubicBezTo>
                <a:cubicBezTo>
                  <a:pt x="712886" y="1320794"/>
                  <a:pt x="810053" y="1262200"/>
                  <a:pt x="923209" y="1184355"/>
                </a:cubicBezTo>
                <a:cubicBezTo>
                  <a:pt x="1036365" y="1106510"/>
                  <a:pt x="1220829" y="956756"/>
                  <a:pt x="1306268" y="863079"/>
                </a:cubicBezTo>
                <a:cubicBezTo>
                  <a:pt x="1391707" y="769402"/>
                  <a:pt x="1439547" y="709792"/>
                  <a:pt x="1435843" y="622294"/>
                </a:cubicBezTo>
                <a:cubicBezTo>
                  <a:pt x="1432139" y="534796"/>
                  <a:pt x="1379351" y="452783"/>
                  <a:pt x="1284043" y="338089"/>
                </a:cubicBezTo>
                <a:cubicBezTo>
                  <a:pt x="1188735" y="223395"/>
                  <a:pt x="1106143" y="131614"/>
                  <a:pt x="1006874" y="77010"/>
                </a:cubicBezTo>
                <a:cubicBezTo>
                  <a:pt x="907605" y="22406"/>
                  <a:pt x="806913" y="-20654"/>
                  <a:pt x="688430" y="10463"/>
                </a:cubicBezTo>
                <a:cubicBezTo>
                  <a:pt x="569947" y="41580"/>
                  <a:pt x="455583" y="140143"/>
                  <a:pt x="295975" y="263711"/>
                </a:cubicBezTo>
              </a:path>
            </a:pathLst>
          </a:custGeom>
          <a:solidFill>
            <a:sysClr val="window" lastClr="FFFFFF">
              <a:lumMod val="65000"/>
            </a:sys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anchor="ctr"/>
          <a:lstStyle/>
          <a:p>
            <a:pPr marL="0" marR="0" lvl="0" indent="0" algn="ctr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81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Flexo Medium" pitchFamily="50" charset="0"/>
              <a:cs typeface="Arial" pitchFamily="34" charset="0"/>
            </a:endParaRPr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31E1FA92-1BC9-4C17-B64F-48342590205F}"/>
              </a:ext>
            </a:extLst>
          </p:cNvPr>
          <p:cNvSpPr>
            <a:spLocks noChangeAspect="1"/>
          </p:cNvSpPr>
          <p:nvPr userDrawn="1"/>
        </p:nvSpPr>
        <p:spPr>
          <a:xfrm>
            <a:off x="59408" y="6654391"/>
            <a:ext cx="218765" cy="161966"/>
          </a:xfrm>
          <a:custGeom>
            <a:avLst/>
            <a:gdLst>
              <a:gd name="connsiteX0" fmla="*/ 305371 w 1442193"/>
              <a:gd name="connsiteY0" fmla="*/ 260653 h 1311522"/>
              <a:gd name="connsiteX1" fmla="*/ 58236 w 1442193"/>
              <a:gd name="connsiteY1" fmla="*/ 507788 h 1311522"/>
              <a:gd name="connsiteX2" fmla="*/ 8809 w 1442193"/>
              <a:gd name="connsiteY2" fmla="*/ 791994 h 1311522"/>
              <a:gd name="connsiteX3" fmla="*/ 194160 w 1442193"/>
              <a:gd name="connsiteY3" fmla="*/ 1039129 h 1311522"/>
              <a:gd name="connsiteX4" fmla="*/ 428938 w 1442193"/>
              <a:gd name="connsiteY4" fmla="*/ 1224480 h 1311522"/>
              <a:gd name="connsiteX5" fmla="*/ 601933 w 1442193"/>
              <a:gd name="connsiteY5" fmla="*/ 1310977 h 1311522"/>
              <a:gd name="connsiteX6" fmla="*/ 923209 w 1442193"/>
              <a:gd name="connsiteY6" fmla="*/ 1187410 h 1311522"/>
              <a:gd name="connsiteX7" fmla="*/ 1306268 w 1442193"/>
              <a:gd name="connsiteY7" fmla="*/ 866134 h 1311522"/>
              <a:gd name="connsiteX8" fmla="*/ 1442193 w 1442193"/>
              <a:gd name="connsiteY8" fmla="*/ 618999 h 1311522"/>
              <a:gd name="connsiteX9" fmla="*/ 1306268 w 1442193"/>
              <a:gd name="connsiteY9" fmla="*/ 334794 h 1311522"/>
              <a:gd name="connsiteX10" fmla="*/ 997349 w 1442193"/>
              <a:gd name="connsiteY10" fmla="*/ 75302 h 1311522"/>
              <a:gd name="connsiteX11" fmla="*/ 688430 w 1442193"/>
              <a:gd name="connsiteY11" fmla="*/ 13518 h 1311522"/>
              <a:gd name="connsiteX12" fmla="*/ 243587 w 1442193"/>
              <a:gd name="connsiteY12" fmla="*/ 297723 h 1311522"/>
              <a:gd name="connsiteX0" fmla="*/ 305371 w 1442193"/>
              <a:gd name="connsiteY0" fmla="*/ 260653 h 1312626"/>
              <a:gd name="connsiteX1" fmla="*/ 58236 w 1442193"/>
              <a:gd name="connsiteY1" fmla="*/ 507788 h 1312626"/>
              <a:gd name="connsiteX2" fmla="*/ 8809 w 1442193"/>
              <a:gd name="connsiteY2" fmla="*/ 791994 h 1312626"/>
              <a:gd name="connsiteX3" fmla="*/ 194160 w 1442193"/>
              <a:gd name="connsiteY3" fmla="*/ 1039129 h 1312626"/>
              <a:gd name="connsiteX4" fmla="*/ 409888 w 1442193"/>
              <a:gd name="connsiteY4" fmla="*/ 1243530 h 1312626"/>
              <a:gd name="connsiteX5" fmla="*/ 601933 w 1442193"/>
              <a:gd name="connsiteY5" fmla="*/ 1310977 h 1312626"/>
              <a:gd name="connsiteX6" fmla="*/ 923209 w 1442193"/>
              <a:gd name="connsiteY6" fmla="*/ 1187410 h 1312626"/>
              <a:gd name="connsiteX7" fmla="*/ 1306268 w 1442193"/>
              <a:gd name="connsiteY7" fmla="*/ 866134 h 1312626"/>
              <a:gd name="connsiteX8" fmla="*/ 1442193 w 1442193"/>
              <a:gd name="connsiteY8" fmla="*/ 618999 h 1312626"/>
              <a:gd name="connsiteX9" fmla="*/ 1306268 w 1442193"/>
              <a:gd name="connsiteY9" fmla="*/ 334794 h 1312626"/>
              <a:gd name="connsiteX10" fmla="*/ 997349 w 1442193"/>
              <a:gd name="connsiteY10" fmla="*/ 75302 h 1312626"/>
              <a:gd name="connsiteX11" fmla="*/ 688430 w 1442193"/>
              <a:gd name="connsiteY11" fmla="*/ 13518 h 1312626"/>
              <a:gd name="connsiteX12" fmla="*/ 243587 w 1442193"/>
              <a:gd name="connsiteY12" fmla="*/ 297723 h 1312626"/>
              <a:gd name="connsiteX0" fmla="*/ 305371 w 1442193"/>
              <a:gd name="connsiteY0" fmla="*/ 260821 h 1312794"/>
              <a:gd name="connsiteX1" fmla="*/ 58236 w 1442193"/>
              <a:gd name="connsiteY1" fmla="*/ 507956 h 1312794"/>
              <a:gd name="connsiteX2" fmla="*/ 8809 w 1442193"/>
              <a:gd name="connsiteY2" fmla="*/ 792162 h 1312794"/>
              <a:gd name="connsiteX3" fmla="*/ 194160 w 1442193"/>
              <a:gd name="connsiteY3" fmla="*/ 1039297 h 1312794"/>
              <a:gd name="connsiteX4" fmla="*/ 409888 w 1442193"/>
              <a:gd name="connsiteY4" fmla="*/ 1243698 h 1312794"/>
              <a:gd name="connsiteX5" fmla="*/ 601933 w 1442193"/>
              <a:gd name="connsiteY5" fmla="*/ 1311145 h 1312794"/>
              <a:gd name="connsiteX6" fmla="*/ 923209 w 1442193"/>
              <a:gd name="connsiteY6" fmla="*/ 1187578 h 1312794"/>
              <a:gd name="connsiteX7" fmla="*/ 1306268 w 1442193"/>
              <a:gd name="connsiteY7" fmla="*/ 866302 h 1312794"/>
              <a:gd name="connsiteX8" fmla="*/ 1442193 w 1442193"/>
              <a:gd name="connsiteY8" fmla="*/ 619167 h 1312794"/>
              <a:gd name="connsiteX9" fmla="*/ 1306268 w 1442193"/>
              <a:gd name="connsiteY9" fmla="*/ 334962 h 1312794"/>
              <a:gd name="connsiteX10" fmla="*/ 997349 w 1442193"/>
              <a:gd name="connsiteY10" fmla="*/ 75470 h 1312794"/>
              <a:gd name="connsiteX11" fmla="*/ 688430 w 1442193"/>
              <a:gd name="connsiteY11" fmla="*/ 13686 h 1312794"/>
              <a:gd name="connsiteX12" fmla="*/ 260256 w 1442193"/>
              <a:gd name="connsiteY12" fmla="*/ 300272 h 1312794"/>
              <a:gd name="connsiteX0" fmla="*/ 305371 w 1442193"/>
              <a:gd name="connsiteY0" fmla="*/ 260654 h 1312627"/>
              <a:gd name="connsiteX1" fmla="*/ 58236 w 1442193"/>
              <a:gd name="connsiteY1" fmla="*/ 507789 h 1312627"/>
              <a:gd name="connsiteX2" fmla="*/ 8809 w 1442193"/>
              <a:gd name="connsiteY2" fmla="*/ 791995 h 1312627"/>
              <a:gd name="connsiteX3" fmla="*/ 194160 w 1442193"/>
              <a:gd name="connsiteY3" fmla="*/ 1039130 h 1312627"/>
              <a:gd name="connsiteX4" fmla="*/ 409888 w 1442193"/>
              <a:gd name="connsiteY4" fmla="*/ 1243531 h 1312627"/>
              <a:gd name="connsiteX5" fmla="*/ 601933 w 1442193"/>
              <a:gd name="connsiteY5" fmla="*/ 1310978 h 1312627"/>
              <a:gd name="connsiteX6" fmla="*/ 923209 w 1442193"/>
              <a:gd name="connsiteY6" fmla="*/ 1187411 h 1312627"/>
              <a:gd name="connsiteX7" fmla="*/ 1306268 w 1442193"/>
              <a:gd name="connsiteY7" fmla="*/ 866135 h 1312627"/>
              <a:gd name="connsiteX8" fmla="*/ 1442193 w 1442193"/>
              <a:gd name="connsiteY8" fmla="*/ 619000 h 1312627"/>
              <a:gd name="connsiteX9" fmla="*/ 1306268 w 1442193"/>
              <a:gd name="connsiteY9" fmla="*/ 334795 h 1312627"/>
              <a:gd name="connsiteX10" fmla="*/ 997349 w 1442193"/>
              <a:gd name="connsiteY10" fmla="*/ 75303 h 1312627"/>
              <a:gd name="connsiteX11" fmla="*/ 688430 w 1442193"/>
              <a:gd name="connsiteY11" fmla="*/ 13519 h 1312627"/>
              <a:gd name="connsiteX12" fmla="*/ 253112 w 1442193"/>
              <a:gd name="connsiteY12" fmla="*/ 297723 h 1312627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295974 w 1442193"/>
              <a:gd name="connsiteY12" fmla="*/ 254400 h 1309785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307881 w 1442193"/>
              <a:gd name="connsiteY12" fmla="*/ 254400 h 1309785"/>
              <a:gd name="connsiteX0" fmla="*/ 305371 w 1442193"/>
              <a:gd name="connsiteY0" fmla="*/ 258143 h 1310116"/>
              <a:gd name="connsiteX1" fmla="*/ 58236 w 1442193"/>
              <a:gd name="connsiteY1" fmla="*/ 505278 h 1310116"/>
              <a:gd name="connsiteX2" fmla="*/ 8809 w 1442193"/>
              <a:gd name="connsiteY2" fmla="*/ 789484 h 1310116"/>
              <a:gd name="connsiteX3" fmla="*/ 194160 w 1442193"/>
              <a:gd name="connsiteY3" fmla="*/ 1036619 h 1310116"/>
              <a:gd name="connsiteX4" fmla="*/ 409888 w 1442193"/>
              <a:gd name="connsiteY4" fmla="*/ 1241020 h 1310116"/>
              <a:gd name="connsiteX5" fmla="*/ 601933 w 1442193"/>
              <a:gd name="connsiteY5" fmla="*/ 1308467 h 1310116"/>
              <a:gd name="connsiteX6" fmla="*/ 923209 w 1442193"/>
              <a:gd name="connsiteY6" fmla="*/ 1184900 h 1310116"/>
              <a:gd name="connsiteX7" fmla="*/ 1306268 w 1442193"/>
              <a:gd name="connsiteY7" fmla="*/ 863624 h 1310116"/>
              <a:gd name="connsiteX8" fmla="*/ 1442193 w 1442193"/>
              <a:gd name="connsiteY8" fmla="*/ 616489 h 1310116"/>
              <a:gd name="connsiteX9" fmla="*/ 1306268 w 1442193"/>
              <a:gd name="connsiteY9" fmla="*/ 332284 h 1310116"/>
              <a:gd name="connsiteX10" fmla="*/ 997349 w 1442193"/>
              <a:gd name="connsiteY10" fmla="*/ 72792 h 1310116"/>
              <a:gd name="connsiteX11" fmla="*/ 688430 w 1442193"/>
              <a:gd name="connsiteY11" fmla="*/ 11008 h 1310116"/>
              <a:gd name="connsiteX12" fmla="*/ 298356 w 1442193"/>
              <a:gd name="connsiteY12" fmla="*/ 259493 h 1310116"/>
              <a:gd name="connsiteX0" fmla="*/ 305371 w 1442193"/>
              <a:gd name="connsiteY0" fmla="*/ 258476 h 1310449"/>
              <a:gd name="connsiteX1" fmla="*/ 58236 w 1442193"/>
              <a:gd name="connsiteY1" fmla="*/ 505611 h 1310449"/>
              <a:gd name="connsiteX2" fmla="*/ 8809 w 1442193"/>
              <a:gd name="connsiteY2" fmla="*/ 789817 h 1310449"/>
              <a:gd name="connsiteX3" fmla="*/ 194160 w 1442193"/>
              <a:gd name="connsiteY3" fmla="*/ 1036952 h 1310449"/>
              <a:gd name="connsiteX4" fmla="*/ 409888 w 1442193"/>
              <a:gd name="connsiteY4" fmla="*/ 1241353 h 1310449"/>
              <a:gd name="connsiteX5" fmla="*/ 601933 w 1442193"/>
              <a:gd name="connsiteY5" fmla="*/ 1308800 h 1310449"/>
              <a:gd name="connsiteX6" fmla="*/ 923209 w 1442193"/>
              <a:gd name="connsiteY6" fmla="*/ 1185233 h 1310449"/>
              <a:gd name="connsiteX7" fmla="*/ 1306268 w 1442193"/>
              <a:gd name="connsiteY7" fmla="*/ 863957 h 1310449"/>
              <a:gd name="connsiteX8" fmla="*/ 1442193 w 1442193"/>
              <a:gd name="connsiteY8" fmla="*/ 616822 h 1310449"/>
              <a:gd name="connsiteX9" fmla="*/ 1306268 w 1442193"/>
              <a:gd name="connsiteY9" fmla="*/ 332617 h 1310449"/>
              <a:gd name="connsiteX10" fmla="*/ 997349 w 1442193"/>
              <a:gd name="connsiteY10" fmla="*/ 73125 h 1310449"/>
              <a:gd name="connsiteX11" fmla="*/ 688430 w 1442193"/>
              <a:gd name="connsiteY11" fmla="*/ 11341 h 1310449"/>
              <a:gd name="connsiteX12" fmla="*/ 295975 w 1442193"/>
              <a:gd name="connsiteY12" fmla="*/ 264589 h 1310449"/>
              <a:gd name="connsiteX0" fmla="*/ 305371 w 1442193"/>
              <a:gd name="connsiteY0" fmla="*/ 258476 h 1332161"/>
              <a:gd name="connsiteX1" fmla="*/ 58236 w 1442193"/>
              <a:gd name="connsiteY1" fmla="*/ 505611 h 1332161"/>
              <a:gd name="connsiteX2" fmla="*/ 8809 w 1442193"/>
              <a:gd name="connsiteY2" fmla="*/ 789817 h 1332161"/>
              <a:gd name="connsiteX3" fmla="*/ 194160 w 1442193"/>
              <a:gd name="connsiteY3" fmla="*/ 1036952 h 1332161"/>
              <a:gd name="connsiteX4" fmla="*/ 409888 w 1442193"/>
              <a:gd name="connsiteY4" fmla="*/ 1241353 h 1332161"/>
              <a:gd name="connsiteX5" fmla="*/ 627333 w 1442193"/>
              <a:gd name="connsiteY5" fmla="*/ 1331025 h 1332161"/>
              <a:gd name="connsiteX6" fmla="*/ 923209 w 1442193"/>
              <a:gd name="connsiteY6" fmla="*/ 1185233 h 1332161"/>
              <a:gd name="connsiteX7" fmla="*/ 1306268 w 1442193"/>
              <a:gd name="connsiteY7" fmla="*/ 863957 h 1332161"/>
              <a:gd name="connsiteX8" fmla="*/ 1442193 w 1442193"/>
              <a:gd name="connsiteY8" fmla="*/ 616822 h 1332161"/>
              <a:gd name="connsiteX9" fmla="*/ 1306268 w 1442193"/>
              <a:gd name="connsiteY9" fmla="*/ 332617 h 1332161"/>
              <a:gd name="connsiteX10" fmla="*/ 997349 w 1442193"/>
              <a:gd name="connsiteY10" fmla="*/ 73125 h 1332161"/>
              <a:gd name="connsiteX11" fmla="*/ 688430 w 1442193"/>
              <a:gd name="connsiteY11" fmla="*/ 11341 h 1332161"/>
              <a:gd name="connsiteX12" fmla="*/ 295975 w 1442193"/>
              <a:gd name="connsiteY12" fmla="*/ 264589 h 1332161"/>
              <a:gd name="connsiteX0" fmla="*/ 305371 w 1435843"/>
              <a:gd name="connsiteY0" fmla="*/ 258476 h 1332161"/>
              <a:gd name="connsiteX1" fmla="*/ 58236 w 1435843"/>
              <a:gd name="connsiteY1" fmla="*/ 505611 h 1332161"/>
              <a:gd name="connsiteX2" fmla="*/ 8809 w 1435843"/>
              <a:gd name="connsiteY2" fmla="*/ 789817 h 1332161"/>
              <a:gd name="connsiteX3" fmla="*/ 194160 w 1435843"/>
              <a:gd name="connsiteY3" fmla="*/ 1036952 h 1332161"/>
              <a:gd name="connsiteX4" fmla="*/ 409888 w 1435843"/>
              <a:gd name="connsiteY4" fmla="*/ 1241353 h 1332161"/>
              <a:gd name="connsiteX5" fmla="*/ 627333 w 1435843"/>
              <a:gd name="connsiteY5" fmla="*/ 1331025 h 1332161"/>
              <a:gd name="connsiteX6" fmla="*/ 923209 w 1435843"/>
              <a:gd name="connsiteY6" fmla="*/ 1185233 h 1332161"/>
              <a:gd name="connsiteX7" fmla="*/ 1306268 w 1435843"/>
              <a:gd name="connsiteY7" fmla="*/ 863957 h 1332161"/>
              <a:gd name="connsiteX8" fmla="*/ 1435843 w 1435843"/>
              <a:gd name="connsiteY8" fmla="*/ 623172 h 1332161"/>
              <a:gd name="connsiteX9" fmla="*/ 1306268 w 1435843"/>
              <a:gd name="connsiteY9" fmla="*/ 332617 h 1332161"/>
              <a:gd name="connsiteX10" fmla="*/ 997349 w 1435843"/>
              <a:gd name="connsiteY10" fmla="*/ 73125 h 1332161"/>
              <a:gd name="connsiteX11" fmla="*/ 688430 w 1435843"/>
              <a:gd name="connsiteY11" fmla="*/ 11341 h 1332161"/>
              <a:gd name="connsiteX12" fmla="*/ 295975 w 1435843"/>
              <a:gd name="connsiteY12" fmla="*/ 264589 h 1332161"/>
              <a:gd name="connsiteX0" fmla="*/ 305371 w 1435847"/>
              <a:gd name="connsiteY0" fmla="*/ 258622 h 1332307"/>
              <a:gd name="connsiteX1" fmla="*/ 58236 w 1435847"/>
              <a:gd name="connsiteY1" fmla="*/ 505757 h 1332307"/>
              <a:gd name="connsiteX2" fmla="*/ 8809 w 1435847"/>
              <a:gd name="connsiteY2" fmla="*/ 789963 h 1332307"/>
              <a:gd name="connsiteX3" fmla="*/ 194160 w 1435847"/>
              <a:gd name="connsiteY3" fmla="*/ 1037098 h 1332307"/>
              <a:gd name="connsiteX4" fmla="*/ 409888 w 1435847"/>
              <a:gd name="connsiteY4" fmla="*/ 1241499 h 1332307"/>
              <a:gd name="connsiteX5" fmla="*/ 627333 w 1435847"/>
              <a:gd name="connsiteY5" fmla="*/ 1331171 h 1332307"/>
              <a:gd name="connsiteX6" fmla="*/ 923209 w 1435847"/>
              <a:gd name="connsiteY6" fmla="*/ 1185379 h 1332307"/>
              <a:gd name="connsiteX7" fmla="*/ 1306268 w 1435847"/>
              <a:gd name="connsiteY7" fmla="*/ 864103 h 1332307"/>
              <a:gd name="connsiteX8" fmla="*/ 1435843 w 1435847"/>
              <a:gd name="connsiteY8" fmla="*/ 623318 h 1332307"/>
              <a:gd name="connsiteX9" fmla="*/ 1303093 w 1435847"/>
              <a:gd name="connsiteY9" fmla="*/ 339113 h 1332307"/>
              <a:gd name="connsiteX10" fmla="*/ 997349 w 1435847"/>
              <a:gd name="connsiteY10" fmla="*/ 73271 h 1332307"/>
              <a:gd name="connsiteX11" fmla="*/ 688430 w 1435847"/>
              <a:gd name="connsiteY11" fmla="*/ 11487 h 1332307"/>
              <a:gd name="connsiteX12" fmla="*/ 295975 w 1435847"/>
              <a:gd name="connsiteY12" fmla="*/ 264735 h 1332307"/>
              <a:gd name="connsiteX0" fmla="*/ 305371 w 1435847"/>
              <a:gd name="connsiteY0" fmla="*/ 257598 h 1331283"/>
              <a:gd name="connsiteX1" fmla="*/ 58236 w 1435847"/>
              <a:gd name="connsiteY1" fmla="*/ 504733 h 1331283"/>
              <a:gd name="connsiteX2" fmla="*/ 8809 w 1435847"/>
              <a:gd name="connsiteY2" fmla="*/ 788939 h 1331283"/>
              <a:gd name="connsiteX3" fmla="*/ 194160 w 1435847"/>
              <a:gd name="connsiteY3" fmla="*/ 1036074 h 1331283"/>
              <a:gd name="connsiteX4" fmla="*/ 409888 w 1435847"/>
              <a:gd name="connsiteY4" fmla="*/ 1240475 h 1331283"/>
              <a:gd name="connsiteX5" fmla="*/ 627333 w 1435847"/>
              <a:gd name="connsiteY5" fmla="*/ 1330147 h 1331283"/>
              <a:gd name="connsiteX6" fmla="*/ 923209 w 1435847"/>
              <a:gd name="connsiteY6" fmla="*/ 1184355 h 1331283"/>
              <a:gd name="connsiteX7" fmla="*/ 1306268 w 1435847"/>
              <a:gd name="connsiteY7" fmla="*/ 863079 h 1331283"/>
              <a:gd name="connsiteX8" fmla="*/ 1435843 w 1435847"/>
              <a:gd name="connsiteY8" fmla="*/ 622294 h 1331283"/>
              <a:gd name="connsiteX9" fmla="*/ 1303093 w 1435847"/>
              <a:gd name="connsiteY9" fmla="*/ 338089 h 1331283"/>
              <a:gd name="connsiteX10" fmla="*/ 1016399 w 1435847"/>
              <a:gd name="connsiteY10" fmla="*/ 77010 h 1331283"/>
              <a:gd name="connsiteX11" fmla="*/ 688430 w 1435847"/>
              <a:gd name="connsiteY11" fmla="*/ 10463 h 1331283"/>
              <a:gd name="connsiteX12" fmla="*/ 295975 w 1435847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16399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36043" h="1331283">
                <a:moveTo>
                  <a:pt x="305371" y="257598"/>
                </a:moveTo>
                <a:cubicBezTo>
                  <a:pt x="206517" y="336887"/>
                  <a:pt x="107663" y="416176"/>
                  <a:pt x="58236" y="504733"/>
                </a:cubicBezTo>
                <a:cubicBezTo>
                  <a:pt x="8809" y="593290"/>
                  <a:pt x="-13845" y="700382"/>
                  <a:pt x="8809" y="788939"/>
                </a:cubicBezTo>
                <a:cubicBezTo>
                  <a:pt x="31463" y="877496"/>
                  <a:pt x="127313" y="960818"/>
                  <a:pt x="194160" y="1036074"/>
                </a:cubicBezTo>
                <a:cubicBezTo>
                  <a:pt x="261007" y="1111330"/>
                  <a:pt x="337692" y="1191463"/>
                  <a:pt x="409888" y="1240475"/>
                </a:cubicBezTo>
                <a:cubicBezTo>
                  <a:pt x="482084" y="1289487"/>
                  <a:pt x="541780" y="1339500"/>
                  <a:pt x="627333" y="1330147"/>
                </a:cubicBezTo>
                <a:cubicBezTo>
                  <a:pt x="712886" y="1320794"/>
                  <a:pt x="810053" y="1262200"/>
                  <a:pt x="923209" y="1184355"/>
                </a:cubicBezTo>
                <a:cubicBezTo>
                  <a:pt x="1036365" y="1106510"/>
                  <a:pt x="1220829" y="956756"/>
                  <a:pt x="1306268" y="863079"/>
                </a:cubicBezTo>
                <a:cubicBezTo>
                  <a:pt x="1391707" y="769402"/>
                  <a:pt x="1439547" y="709792"/>
                  <a:pt x="1435843" y="622294"/>
                </a:cubicBezTo>
                <a:cubicBezTo>
                  <a:pt x="1432139" y="534796"/>
                  <a:pt x="1379351" y="452783"/>
                  <a:pt x="1284043" y="338089"/>
                </a:cubicBezTo>
                <a:cubicBezTo>
                  <a:pt x="1188735" y="223395"/>
                  <a:pt x="1106143" y="131614"/>
                  <a:pt x="1006874" y="77010"/>
                </a:cubicBezTo>
                <a:cubicBezTo>
                  <a:pt x="907605" y="22406"/>
                  <a:pt x="806913" y="-20654"/>
                  <a:pt x="688430" y="10463"/>
                </a:cubicBezTo>
                <a:cubicBezTo>
                  <a:pt x="569947" y="41580"/>
                  <a:pt x="455583" y="140143"/>
                  <a:pt x="295975" y="263711"/>
                </a:cubicBezTo>
              </a:path>
            </a:pathLst>
          </a:custGeom>
          <a:solidFill>
            <a:srgbClr val="70AD47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anchor="ctr"/>
          <a:lstStyle/>
          <a:p>
            <a:pPr marL="0" marR="0" lvl="0" indent="0" algn="ctr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81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lexo Medium" pitchFamily="50" charset="0"/>
              <a:cs typeface="Arial" pitchFamily="34" charset="0"/>
            </a:endParaRP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C8F25962-4DD2-4877-89E2-031A1085D340}"/>
              </a:ext>
            </a:extLst>
          </p:cNvPr>
          <p:cNvCxnSpPr/>
          <p:nvPr userDrawn="1"/>
        </p:nvCxnSpPr>
        <p:spPr>
          <a:xfrm>
            <a:off x="4458754" y="6735374"/>
            <a:ext cx="345595" cy="0"/>
          </a:xfrm>
          <a:prstGeom prst="line">
            <a:avLst/>
          </a:prstGeom>
          <a:noFill/>
          <a:ln w="57150" cap="flat" cmpd="sng" algn="ctr">
            <a:solidFill>
              <a:schemeClr val="accent3"/>
            </a:solidFill>
            <a:prstDash val="solid"/>
            <a:miter lim="800000"/>
          </a:ln>
          <a:effectLst/>
        </p:spPr>
      </p:cxnSp>
      <p:sp>
        <p:nvSpPr>
          <p:cNvPr id="20" name="92 CuadroTexto">
            <a:extLst>
              <a:ext uri="{FF2B5EF4-FFF2-40B4-BE49-F238E27FC236}">
                <a16:creationId xmlns:a16="http://schemas.microsoft.com/office/drawing/2014/main" id="{A3A72481-76EA-4114-AD6E-D7674031D7F4}"/>
              </a:ext>
            </a:extLst>
          </p:cNvPr>
          <p:cNvSpPr txBox="1"/>
          <p:nvPr userDrawn="1"/>
        </p:nvSpPr>
        <p:spPr>
          <a:xfrm>
            <a:off x="4751588" y="6624597"/>
            <a:ext cx="6926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254061"/>
                </a:solidFill>
                <a:latin typeface="Flexo Medium" pitchFamily="50" charset="0"/>
              </a:defRPr>
            </a:lvl1pPr>
          </a:lstStyle>
          <a:p>
            <a:pPr marL="0" marR="0" lvl="0" indent="0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 err="1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Baseline</a:t>
            </a:r>
            <a:endParaRPr kumimoji="0" lang="es-PE" sz="900" b="0" i="0" u="none" strike="noStrike" kern="0" cap="none" spc="0" normalizeH="0" baseline="0" noProof="0">
              <a:ln>
                <a:noFill/>
              </a:ln>
              <a:solidFill>
                <a:srgbClr val="254061"/>
              </a:solidFill>
              <a:effectLst/>
              <a:uLnTx/>
              <a:uFillTx/>
              <a:latin typeface="Flexo Medium" pitchFamily="50" charset="0"/>
            </a:endParaRPr>
          </a:p>
        </p:txBody>
      </p:sp>
      <p:sp>
        <p:nvSpPr>
          <p:cNvPr id="21" name="92 CuadroTexto">
            <a:extLst>
              <a:ext uri="{FF2B5EF4-FFF2-40B4-BE49-F238E27FC236}">
                <a16:creationId xmlns:a16="http://schemas.microsoft.com/office/drawing/2014/main" id="{995595FC-3027-4AEE-8938-13B01F7C7694}"/>
              </a:ext>
            </a:extLst>
          </p:cNvPr>
          <p:cNvSpPr txBox="1"/>
          <p:nvPr userDrawn="1"/>
        </p:nvSpPr>
        <p:spPr>
          <a:xfrm>
            <a:off x="3403981" y="6624597"/>
            <a:ext cx="10631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254061"/>
                </a:solidFill>
                <a:latin typeface="Flexo Medium" pitchFamily="50" charset="0"/>
              </a:defRPr>
            </a:lvl1pPr>
          </a:lstStyle>
          <a:p>
            <a:pPr marL="0" marR="0" lvl="0" indent="0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 err="1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Poy</a:t>
            </a: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. Alto Nivel</a:t>
            </a:r>
          </a:p>
        </p:txBody>
      </p:sp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9E166062-8053-437C-85D0-A1A46D9CBEF8}"/>
              </a:ext>
            </a:extLst>
          </p:cNvPr>
          <p:cNvSpPr>
            <a:spLocks noChangeAspect="1"/>
          </p:cNvSpPr>
          <p:nvPr userDrawn="1"/>
        </p:nvSpPr>
        <p:spPr>
          <a:xfrm>
            <a:off x="3211138" y="6654391"/>
            <a:ext cx="218765" cy="161966"/>
          </a:xfrm>
          <a:custGeom>
            <a:avLst/>
            <a:gdLst>
              <a:gd name="connsiteX0" fmla="*/ 305371 w 1442193"/>
              <a:gd name="connsiteY0" fmla="*/ 260653 h 1311522"/>
              <a:gd name="connsiteX1" fmla="*/ 58236 w 1442193"/>
              <a:gd name="connsiteY1" fmla="*/ 507788 h 1311522"/>
              <a:gd name="connsiteX2" fmla="*/ 8809 w 1442193"/>
              <a:gd name="connsiteY2" fmla="*/ 791994 h 1311522"/>
              <a:gd name="connsiteX3" fmla="*/ 194160 w 1442193"/>
              <a:gd name="connsiteY3" fmla="*/ 1039129 h 1311522"/>
              <a:gd name="connsiteX4" fmla="*/ 428938 w 1442193"/>
              <a:gd name="connsiteY4" fmla="*/ 1224480 h 1311522"/>
              <a:gd name="connsiteX5" fmla="*/ 601933 w 1442193"/>
              <a:gd name="connsiteY5" fmla="*/ 1310977 h 1311522"/>
              <a:gd name="connsiteX6" fmla="*/ 923209 w 1442193"/>
              <a:gd name="connsiteY6" fmla="*/ 1187410 h 1311522"/>
              <a:gd name="connsiteX7" fmla="*/ 1306268 w 1442193"/>
              <a:gd name="connsiteY7" fmla="*/ 866134 h 1311522"/>
              <a:gd name="connsiteX8" fmla="*/ 1442193 w 1442193"/>
              <a:gd name="connsiteY8" fmla="*/ 618999 h 1311522"/>
              <a:gd name="connsiteX9" fmla="*/ 1306268 w 1442193"/>
              <a:gd name="connsiteY9" fmla="*/ 334794 h 1311522"/>
              <a:gd name="connsiteX10" fmla="*/ 997349 w 1442193"/>
              <a:gd name="connsiteY10" fmla="*/ 75302 h 1311522"/>
              <a:gd name="connsiteX11" fmla="*/ 688430 w 1442193"/>
              <a:gd name="connsiteY11" fmla="*/ 13518 h 1311522"/>
              <a:gd name="connsiteX12" fmla="*/ 243587 w 1442193"/>
              <a:gd name="connsiteY12" fmla="*/ 297723 h 1311522"/>
              <a:gd name="connsiteX0" fmla="*/ 305371 w 1442193"/>
              <a:gd name="connsiteY0" fmla="*/ 260653 h 1312626"/>
              <a:gd name="connsiteX1" fmla="*/ 58236 w 1442193"/>
              <a:gd name="connsiteY1" fmla="*/ 507788 h 1312626"/>
              <a:gd name="connsiteX2" fmla="*/ 8809 w 1442193"/>
              <a:gd name="connsiteY2" fmla="*/ 791994 h 1312626"/>
              <a:gd name="connsiteX3" fmla="*/ 194160 w 1442193"/>
              <a:gd name="connsiteY3" fmla="*/ 1039129 h 1312626"/>
              <a:gd name="connsiteX4" fmla="*/ 409888 w 1442193"/>
              <a:gd name="connsiteY4" fmla="*/ 1243530 h 1312626"/>
              <a:gd name="connsiteX5" fmla="*/ 601933 w 1442193"/>
              <a:gd name="connsiteY5" fmla="*/ 1310977 h 1312626"/>
              <a:gd name="connsiteX6" fmla="*/ 923209 w 1442193"/>
              <a:gd name="connsiteY6" fmla="*/ 1187410 h 1312626"/>
              <a:gd name="connsiteX7" fmla="*/ 1306268 w 1442193"/>
              <a:gd name="connsiteY7" fmla="*/ 866134 h 1312626"/>
              <a:gd name="connsiteX8" fmla="*/ 1442193 w 1442193"/>
              <a:gd name="connsiteY8" fmla="*/ 618999 h 1312626"/>
              <a:gd name="connsiteX9" fmla="*/ 1306268 w 1442193"/>
              <a:gd name="connsiteY9" fmla="*/ 334794 h 1312626"/>
              <a:gd name="connsiteX10" fmla="*/ 997349 w 1442193"/>
              <a:gd name="connsiteY10" fmla="*/ 75302 h 1312626"/>
              <a:gd name="connsiteX11" fmla="*/ 688430 w 1442193"/>
              <a:gd name="connsiteY11" fmla="*/ 13518 h 1312626"/>
              <a:gd name="connsiteX12" fmla="*/ 243587 w 1442193"/>
              <a:gd name="connsiteY12" fmla="*/ 297723 h 1312626"/>
              <a:gd name="connsiteX0" fmla="*/ 305371 w 1442193"/>
              <a:gd name="connsiteY0" fmla="*/ 260821 h 1312794"/>
              <a:gd name="connsiteX1" fmla="*/ 58236 w 1442193"/>
              <a:gd name="connsiteY1" fmla="*/ 507956 h 1312794"/>
              <a:gd name="connsiteX2" fmla="*/ 8809 w 1442193"/>
              <a:gd name="connsiteY2" fmla="*/ 792162 h 1312794"/>
              <a:gd name="connsiteX3" fmla="*/ 194160 w 1442193"/>
              <a:gd name="connsiteY3" fmla="*/ 1039297 h 1312794"/>
              <a:gd name="connsiteX4" fmla="*/ 409888 w 1442193"/>
              <a:gd name="connsiteY4" fmla="*/ 1243698 h 1312794"/>
              <a:gd name="connsiteX5" fmla="*/ 601933 w 1442193"/>
              <a:gd name="connsiteY5" fmla="*/ 1311145 h 1312794"/>
              <a:gd name="connsiteX6" fmla="*/ 923209 w 1442193"/>
              <a:gd name="connsiteY6" fmla="*/ 1187578 h 1312794"/>
              <a:gd name="connsiteX7" fmla="*/ 1306268 w 1442193"/>
              <a:gd name="connsiteY7" fmla="*/ 866302 h 1312794"/>
              <a:gd name="connsiteX8" fmla="*/ 1442193 w 1442193"/>
              <a:gd name="connsiteY8" fmla="*/ 619167 h 1312794"/>
              <a:gd name="connsiteX9" fmla="*/ 1306268 w 1442193"/>
              <a:gd name="connsiteY9" fmla="*/ 334962 h 1312794"/>
              <a:gd name="connsiteX10" fmla="*/ 997349 w 1442193"/>
              <a:gd name="connsiteY10" fmla="*/ 75470 h 1312794"/>
              <a:gd name="connsiteX11" fmla="*/ 688430 w 1442193"/>
              <a:gd name="connsiteY11" fmla="*/ 13686 h 1312794"/>
              <a:gd name="connsiteX12" fmla="*/ 260256 w 1442193"/>
              <a:gd name="connsiteY12" fmla="*/ 300272 h 1312794"/>
              <a:gd name="connsiteX0" fmla="*/ 305371 w 1442193"/>
              <a:gd name="connsiteY0" fmla="*/ 260654 h 1312627"/>
              <a:gd name="connsiteX1" fmla="*/ 58236 w 1442193"/>
              <a:gd name="connsiteY1" fmla="*/ 507789 h 1312627"/>
              <a:gd name="connsiteX2" fmla="*/ 8809 w 1442193"/>
              <a:gd name="connsiteY2" fmla="*/ 791995 h 1312627"/>
              <a:gd name="connsiteX3" fmla="*/ 194160 w 1442193"/>
              <a:gd name="connsiteY3" fmla="*/ 1039130 h 1312627"/>
              <a:gd name="connsiteX4" fmla="*/ 409888 w 1442193"/>
              <a:gd name="connsiteY4" fmla="*/ 1243531 h 1312627"/>
              <a:gd name="connsiteX5" fmla="*/ 601933 w 1442193"/>
              <a:gd name="connsiteY5" fmla="*/ 1310978 h 1312627"/>
              <a:gd name="connsiteX6" fmla="*/ 923209 w 1442193"/>
              <a:gd name="connsiteY6" fmla="*/ 1187411 h 1312627"/>
              <a:gd name="connsiteX7" fmla="*/ 1306268 w 1442193"/>
              <a:gd name="connsiteY7" fmla="*/ 866135 h 1312627"/>
              <a:gd name="connsiteX8" fmla="*/ 1442193 w 1442193"/>
              <a:gd name="connsiteY8" fmla="*/ 619000 h 1312627"/>
              <a:gd name="connsiteX9" fmla="*/ 1306268 w 1442193"/>
              <a:gd name="connsiteY9" fmla="*/ 334795 h 1312627"/>
              <a:gd name="connsiteX10" fmla="*/ 997349 w 1442193"/>
              <a:gd name="connsiteY10" fmla="*/ 75303 h 1312627"/>
              <a:gd name="connsiteX11" fmla="*/ 688430 w 1442193"/>
              <a:gd name="connsiteY11" fmla="*/ 13519 h 1312627"/>
              <a:gd name="connsiteX12" fmla="*/ 253112 w 1442193"/>
              <a:gd name="connsiteY12" fmla="*/ 297723 h 1312627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295974 w 1442193"/>
              <a:gd name="connsiteY12" fmla="*/ 254400 h 1309785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307881 w 1442193"/>
              <a:gd name="connsiteY12" fmla="*/ 254400 h 1309785"/>
              <a:gd name="connsiteX0" fmla="*/ 305371 w 1442193"/>
              <a:gd name="connsiteY0" fmla="*/ 258143 h 1310116"/>
              <a:gd name="connsiteX1" fmla="*/ 58236 w 1442193"/>
              <a:gd name="connsiteY1" fmla="*/ 505278 h 1310116"/>
              <a:gd name="connsiteX2" fmla="*/ 8809 w 1442193"/>
              <a:gd name="connsiteY2" fmla="*/ 789484 h 1310116"/>
              <a:gd name="connsiteX3" fmla="*/ 194160 w 1442193"/>
              <a:gd name="connsiteY3" fmla="*/ 1036619 h 1310116"/>
              <a:gd name="connsiteX4" fmla="*/ 409888 w 1442193"/>
              <a:gd name="connsiteY4" fmla="*/ 1241020 h 1310116"/>
              <a:gd name="connsiteX5" fmla="*/ 601933 w 1442193"/>
              <a:gd name="connsiteY5" fmla="*/ 1308467 h 1310116"/>
              <a:gd name="connsiteX6" fmla="*/ 923209 w 1442193"/>
              <a:gd name="connsiteY6" fmla="*/ 1184900 h 1310116"/>
              <a:gd name="connsiteX7" fmla="*/ 1306268 w 1442193"/>
              <a:gd name="connsiteY7" fmla="*/ 863624 h 1310116"/>
              <a:gd name="connsiteX8" fmla="*/ 1442193 w 1442193"/>
              <a:gd name="connsiteY8" fmla="*/ 616489 h 1310116"/>
              <a:gd name="connsiteX9" fmla="*/ 1306268 w 1442193"/>
              <a:gd name="connsiteY9" fmla="*/ 332284 h 1310116"/>
              <a:gd name="connsiteX10" fmla="*/ 997349 w 1442193"/>
              <a:gd name="connsiteY10" fmla="*/ 72792 h 1310116"/>
              <a:gd name="connsiteX11" fmla="*/ 688430 w 1442193"/>
              <a:gd name="connsiteY11" fmla="*/ 11008 h 1310116"/>
              <a:gd name="connsiteX12" fmla="*/ 298356 w 1442193"/>
              <a:gd name="connsiteY12" fmla="*/ 259493 h 1310116"/>
              <a:gd name="connsiteX0" fmla="*/ 305371 w 1442193"/>
              <a:gd name="connsiteY0" fmla="*/ 258476 h 1310449"/>
              <a:gd name="connsiteX1" fmla="*/ 58236 w 1442193"/>
              <a:gd name="connsiteY1" fmla="*/ 505611 h 1310449"/>
              <a:gd name="connsiteX2" fmla="*/ 8809 w 1442193"/>
              <a:gd name="connsiteY2" fmla="*/ 789817 h 1310449"/>
              <a:gd name="connsiteX3" fmla="*/ 194160 w 1442193"/>
              <a:gd name="connsiteY3" fmla="*/ 1036952 h 1310449"/>
              <a:gd name="connsiteX4" fmla="*/ 409888 w 1442193"/>
              <a:gd name="connsiteY4" fmla="*/ 1241353 h 1310449"/>
              <a:gd name="connsiteX5" fmla="*/ 601933 w 1442193"/>
              <a:gd name="connsiteY5" fmla="*/ 1308800 h 1310449"/>
              <a:gd name="connsiteX6" fmla="*/ 923209 w 1442193"/>
              <a:gd name="connsiteY6" fmla="*/ 1185233 h 1310449"/>
              <a:gd name="connsiteX7" fmla="*/ 1306268 w 1442193"/>
              <a:gd name="connsiteY7" fmla="*/ 863957 h 1310449"/>
              <a:gd name="connsiteX8" fmla="*/ 1442193 w 1442193"/>
              <a:gd name="connsiteY8" fmla="*/ 616822 h 1310449"/>
              <a:gd name="connsiteX9" fmla="*/ 1306268 w 1442193"/>
              <a:gd name="connsiteY9" fmla="*/ 332617 h 1310449"/>
              <a:gd name="connsiteX10" fmla="*/ 997349 w 1442193"/>
              <a:gd name="connsiteY10" fmla="*/ 73125 h 1310449"/>
              <a:gd name="connsiteX11" fmla="*/ 688430 w 1442193"/>
              <a:gd name="connsiteY11" fmla="*/ 11341 h 1310449"/>
              <a:gd name="connsiteX12" fmla="*/ 295975 w 1442193"/>
              <a:gd name="connsiteY12" fmla="*/ 264589 h 1310449"/>
              <a:gd name="connsiteX0" fmla="*/ 305371 w 1442193"/>
              <a:gd name="connsiteY0" fmla="*/ 258476 h 1332161"/>
              <a:gd name="connsiteX1" fmla="*/ 58236 w 1442193"/>
              <a:gd name="connsiteY1" fmla="*/ 505611 h 1332161"/>
              <a:gd name="connsiteX2" fmla="*/ 8809 w 1442193"/>
              <a:gd name="connsiteY2" fmla="*/ 789817 h 1332161"/>
              <a:gd name="connsiteX3" fmla="*/ 194160 w 1442193"/>
              <a:gd name="connsiteY3" fmla="*/ 1036952 h 1332161"/>
              <a:gd name="connsiteX4" fmla="*/ 409888 w 1442193"/>
              <a:gd name="connsiteY4" fmla="*/ 1241353 h 1332161"/>
              <a:gd name="connsiteX5" fmla="*/ 627333 w 1442193"/>
              <a:gd name="connsiteY5" fmla="*/ 1331025 h 1332161"/>
              <a:gd name="connsiteX6" fmla="*/ 923209 w 1442193"/>
              <a:gd name="connsiteY6" fmla="*/ 1185233 h 1332161"/>
              <a:gd name="connsiteX7" fmla="*/ 1306268 w 1442193"/>
              <a:gd name="connsiteY7" fmla="*/ 863957 h 1332161"/>
              <a:gd name="connsiteX8" fmla="*/ 1442193 w 1442193"/>
              <a:gd name="connsiteY8" fmla="*/ 616822 h 1332161"/>
              <a:gd name="connsiteX9" fmla="*/ 1306268 w 1442193"/>
              <a:gd name="connsiteY9" fmla="*/ 332617 h 1332161"/>
              <a:gd name="connsiteX10" fmla="*/ 997349 w 1442193"/>
              <a:gd name="connsiteY10" fmla="*/ 73125 h 1332161"/>
              <a:gd name="connsiteX11" fmla="*/ 688430 w 1442193"/>
              <a:gd name="connsiteY11" fmla="*/ 11341 h 1332161"/>
              <a:gd name="connsiteX12" fmla="*/ 295975 w 1442193"/>
              <a:gd name="connsiteY12" fmla="*/ 264589 h 1332161"/>
              <a:gd name="connsiteX0" fmla="*/ 305371 w 1435843"/>
              <a:gd name="connsiteY0" fmla="*/ 258476 h 1332161"/>
              <a:gd name="connsiteX1" fmla="*/ 58236 w 1435843"/>
              <a:gd name="connsiteY1" fmla="*/ 505611 h 1332161"/>
              <a:gd name="connsiteX2" fmla="*/ 8809 w 1435843"/>
              <a:gd name="connsiteY2" fmla="*/ 789817 h 1332161"/>
              <a:gd name="connsiteX3" fmla="*/ 194160 w 1435843"/>
              <a:gd name="connsiteY3" fmla="*/ 1036952 h 1332161"/>
              <a:gd name="connsiteX4" fmla="*/ 409888 w 1435843"/>
              <a:gd name="connsiteY4" fmla="*/ 1241353 h 1332161"/>
              <a:gd name="connsiteX5" fmla="*/ 627333 w 1435843"/>
              <a:gd name="connsiteY5" fmla="*/ 1331025 h 1332161"/>
              <a:gd name="connsiteX6" fmla="*/ 923209 w 1435843"/>
              <a:gd name="connsiteY6" fmla="*/ 1185233 h 1332161"/>
              <a:gd name="connsiteX7" fmla="*/ 1306268 w 1435843"/>
              <a:gd name="connsiteY7" fmla="*/ 863957 h 1332161"/>
              <a:gd name="connsiteX8" fmla="*/ 1435843 w 1435843"/>
              <a:gd name="connsiteY8" fmla="*/ 623172 h 1332161"/>
              <a:gd name="connsiteX9" fmla="*/ 1306268 w 1435843"/>
              <a:gd name="connsiteY9" fmla="*/ 332617 h 1332161"/>
              <a:gd name="connsiteX10" fmla="*/ 997349 w 1435843"/>
              <a:gd name="connsiteY10" fmla="*/ 73125 h 1332161"/>
              <a:gd name="connsiteX11" fmla="*/ 688430 w 1435843"/>
              <a:gd name="connsiteY11" fmla="*/ 11341 h 1332161"/>
              <a:gd name="connsiteX12" fmla="*/ 295975 w 1435843"/>
              <a:gd name="connsiteY12" fmla="*/ 264589 h 1332161"/>
              <a:gd name="connsiteX0" fmla="*/ 305371 w 1435847"/>
              <a:gd name="connsiteY0" fmla="*/ 258622 h 1332307"/>
              <a:gd name="connsiteX1" fmla="*/ 58236 w 1435847"/>
              <a:gd name="connsiteY1" fmla="*/ 505757 h 1332307"/>
              <a:gd name="connsiteX2" fmla="*/ 8809 w 1435847"/>
              <a:gd name="connsiteY2" fmla="*/ 789963 h 1332307"/>
              <a:gd name="connsiteX3" fmla="*/ 194160 w 1435847"/>
              <a:gd name="connsiteY3" fmla="*/ 1037098 h 1332307"/>
              <a:gd name="connsiteX4" fmla="*/ 409888 w 1435847"/>
              <a:gd name="connsiteY4" fmla="*/ 1241499 h 1332307"/>
              <a:gd name="connsiteX5" fmla="*/ 627333 w 1435847"/>
              <a:gd name="connsiteY5" fmla="*/ 1331171 h 1332307"/>
              <a:gd name="connsiteX6" fmla="*/ 923209 w 1435847"/>
              <a:gd name="connsiteY6" fmla="*/ 1185379 h 1332307"/>
              <a:gd name="connsiteX7" fmla="*/ 1306268 w 1435847"/>
              <a:gd name="connsiteY7" fmla="*/ 864103 h 1332307"/>
              <a:gd name="connsiteX8" fmla="*/ 1435843 w 1435847"/>
              <a:gd name="connsiteY8" fmla="*/ 623318 h 1332307"/>
              <a:gd name="connsiteX9" fmla="*/ 1303093 w 1435847"/>
              <a:gd name="connsiteY9" fmla="*/ 339113 h 1332307"/>
              <a:gd name="connsiteX10" fmla="*/ 997349 w 1435847"/>
              <a:gd name="connsiteY10" fmla="*/ 73271 h 1332307"/>
              <a:gd name="connsiteX11" fmla="*/ 688430 w 1435847"/>
              <a:gd name="connsiteY11" fmla="*/ 11487 h 1332307"/>
              <a:gd name="connsiteX12" fmla="*/ 295975 w 1435847"/>
              <a:gd name="connsiteY12" fmla="*/ 264735 h 1332307"/>
              <a:gd name="connsiteX0" fmla="*/ 305371 w 1435847"/>
              <a:gd name="connsiteY0" fmla="*/ 257598 h 1331283"/>
              <a:gd name="connsiteX1" fmla="*/ 58236 w 1435847"/>
              <a:gd name="connsiteY1" fmla="*/ 504733 h 1331283"/>
              <a:gd name="connsiteX2" fmla="*/ 8809 w 1435847"/>
              <a:gd name="connsiteY2" fmla="*/ 788939 h 1331283"/>
              <a:gd name="connsiteX3" fmla="*/ 194160 w 1435847"/>
              <a:gd name="connsiteY3" fmla="*/ 1036074 h 1331283"/>
              <a:gd name="connsiteX4" fmla="*/ 409888 w 1435847"/>
              <a:gd name="connsiteY4" fmla="*/ 1240475 h 1331283"/>
              <a:gd name="connsiteX5" fmla="*/ 627333 w 1435847"/>
              <a:gd name="connsiteY5" fmla="*/ 1330147 h 1331283"/>
              <a:gd name="connsiteX6" fmla="*/ 923209 w 1435847"/>
              <a:gd name="connsiteY6" fmla="*/ 1184355 h 1331283"/>
              <a:gd name="connsiteX7" fmla="*/ 1306268 w 1435847"/>
              <a:gd name="connsiteY7" fmla="*/ 863079 h 1331283"/>
              <a:gd name="connsiteX8" fmla="*/ 1435843 w 1435847"/>
              <a:gd name="connsiteY8" fmla="*/ 622294 h 1331283"/>
              <a:gd name="connsiteX9" fmla="*/ 1303093 w 1435847"/>
              <a:gd name="connsiteY9" fmla="*/ 338089 h 1331283"/>
              <a:gd name="connsiteX10" fmla="*/ 1016399 w 1435847"/>
              <a:gd name="connsiteY10" fmla="*/ 77010 h 1331283"/>
              <a:gd name="connsiteX11" fmla="*/ 688430 w 1435847"/>
              <a:gd name="connsiteY11" fmla="*/ 10463 h 1331283"/>
              <a:gd name="connsiteX12" fmla="*/ 295975 w 1435847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16399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36043" h="1331283">
                <a:moveTo>
                  <a:pt x="305371" y="257598"/>
                </a:moveTo>
                <a:cubicBezTo>
                  <a:pt x="206517" y="336887"/>
                  <a:pt x="107663" y="416176"/>
                  <a:pt x="58236" y="504733"/>
                </a:cubicBezTo>
                <a:cubicBezTo>
                  <a:pt x="8809" y="593290"/>
                  <a:pt x="-13845" y="700382"/>
                  <a:pt x="8809" y="788939"/>
                </a:cubicBezTo>
                <a:cubicBezTo>
                  <a:pt x="31463" y="877496"/>
                  <a:pt x="127313" y="960818"/>
                  <a:pt x="194160" y="1036074"/>
                </a:cubicBezTo>
                <a:cubicBezTo>
                  <a:pt x="261007" y="1111330"/>
                  <a:pt x="337692" y="1191463"/>
                  <a:pt x="409888" y="1240475"/>
                </a:cubicBezTo>
                <a:cubicBezTo>
                  <a:pt x="482084" y="1289487"/>
                  <a:pt x="541780" y="1339500"/>
                  <a:pt x="627333" y="1330147"/>
                </a:cubicBezTo>
                <a:cubicBezTo>
                  <a:pt x="712886" y="1320794"/>
                  <a:pt x="810053" y="1262200"/>
                  <a:pt x="923209" y="1184355"/>
                </a:cubicBezTo>
                <a:cubicBezTo>
                  <a:pt x="1036365" y="1106510"/>
                  <a:pt x="1220829" y="956756"/>
                  <a:pt x="1306268" y="863079"/>
                </a:cubicBezTo>
                <a:cubicBezTo>
                  <a:pt x="1391707" y="769402"/>
                  <a:pt x="1439547" y="709792"/>
                  <a:pt x="1435843" y="622294"/>
                </a:cubicBezTo>
                <a:cubicBezTo>
                  <a:pt x="1432139" y="534796"/>
                  <a:pt x="1379351" y="452783"/>
                  <a:pt x="1284043" y="338089"/>
                </a:cubicBezTo>
                <a:cubicBezTo>
                  <a:pt x="1188735" y="223395"/>
                  <a:pt x="1106143" y="131614"/>
                  <a:pt x="1006874" y="77010"/>
                </a:cubicBezTo>
                <a:cubicBezTo>
                  <a:pt x="907605" y="22406"/>
                  <a:pt x="806913" y="-20654"/>
                  <a:pt x="688430" y="10463"/>
                </a:cubicBezTo>
                <a:cubicBezTo>
                  <a:pt x="569947" y="41580"/>
                  <a:pt x="455583" y="140143"/>
                  <a:pt x="295975" y="263711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prstDash val="dash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anchor="ctr"/>
          <a:lstStyle/>
          <a:p>
            <a:pPr marL="0" marR="0" lvl="0" indent="0" algn="ctr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81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Flexo Medium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6828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79" y="101900"/>
            <a:ext cx="11860664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38F8588F-BF0B-44A2-AD31-2321078C3696}"/>
              </a:ext>
            </a:extLst>
          </p:cNvPr>
          <p:cNvSpPr/>
          <p:nvPr userDrawn="1"/>
        </p:nvSpPr>
        <p:spPr>
          <a:xfrm>
            <a:off x="9645" y="664146"/>
            <a:ext cx="1309224" cy="6015970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/>
          </a:p>
        </p:txBody>
      </p:sp>
      <p:pic>
        <p:nvPicPr>
          <p:cNvPr id="7" name="Picture 2" descr="Resultado de imagen para presupuesto">
            <a:extLst>
              <a:ext uri="{FF2B5EF4-FFF2-40B4-BE49-F238E27FC236}">
                <a16:creationId xmlns:a16="http://schemas.microsoft.com/office/drawing/2014/main" id="{26490115-8090-49BE-AE2B-C195D89FF0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72" y="970470"/>
            <a:ext cx="1046934" cy="647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CD6ABECE-C0CA-4E43-B53E-1FB9E8B9E86F}"/>
              </a:ext>
            </a:extLst>
          </p:cNvPr>
          <p:cNvSpPr txBox="1"/>
          <p:nvPr userDrawn="1"/>
        </p:nvSpPr>
        <p:spPr>
          <a:xfrm>
            <a:off x="67514" y="1707710"/>
            <a:ext cx="12094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Detalle</a:t>
            </a:r>
          </a:p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Presupuestal</a:t>
            </a:r>
          </a:p>
        </p:txBody>
      </p:sp>
    </p:spTree>
    <p:extLst>
      <p:ext uri="{BB962C8B-B14F-4D97-AF65-F5344CB8AC3E}">
        <p14:creationId xmlns:p14="http://schemas.microsoft.com/office/powerpoint/2010/main" val="1885602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3940" y="2"/>
            <a:ext cx="7838062" cy="68580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AA7070E-4118-4494-BAD2-8DBA04DB9A84}"/>
              </a:ext>
            </a:extLst>
          </p:cNvPr>
          <p:cNvSpPr>
            <a:spLocks/>
          </p:cNvSpPr>
          <p:nvPr/>
        </p:nvSpPr>
        <p:spPr>
          <a:xfrm>
            <a:off x="1" y="2"/>
            <a:ext cx="6840595" cy="6858000"/>
          </a:xfrm>
          <a:custGeom>
            <a:avLst/>
            <a:gdLst>
              <a:gd name="connsiteX0" fmla="*/ 0 w 6704318"/>
              <a:gd name="connsiteY0" fmla="*/ 0 h 6721475"/>
              <a:gd name="connsiteX1" fmla="*/ 641619 w 6704318"/>
              <a:gd name="connsiteY1" fmla="*/ 0 h 6721475"/>
              <a:gd name="connsiteX2" fmla="*/ 645291 w 6704318"/>
              <a:gd name="connsiteY2" fmla="*/ 0 h 6721475"/>
              <a:gd name="connsiteX3" fmla="*/ 1460988 w 6704318"/>
              <a:gd name="connsiteY3" fmla="*/ 0 h 6721475"/>
              <a:gd name="connsiteX4" fmla="*/ 2439265 w 6704318"/>
              <a:gd name="connsiteY4" fmla="*/ 0 h 6721475"/>
              <a:gd name="connsiteX5" fmla="*/ 2442937 w 6704318"/>
              <a:gd name="connsiteY5" fmla="*/ 0 h 6721475"/>
              <a:gd name="connsiteX6" fmla="*/ 2530192 w 6704318"/>
              <a:gd name="connsiteY6" fmla="*/ 0 h 6721475"/>
              <a:gd name="connsiteX7" fmla="*/ 2533864 w 6704318"/>
              <a:gd name="connsiteY7" fmla="*/ 0 h 6721475"/>
              <a:gd name="connsiteX8" fmla="*/ 4327838 w 6704318"/>
              <a:gd name="connsiteY8" fmla="*/ 0 h 6721475"/>
              <a:gd name="connsiteX9" fmla="*/ 4331510 w 6704318"/>
              <a:gd name="connsiteY9" fmla="*/ 0 h 6721475"/>
              <a:gd name="connsiteX10" fmla="*/ 4331510 w 6704318"/>
              <a:gd name="connsiteY10" fmla="*/ 10386 h 6721475"/>
              <a:gd name="connsiteX11" fmla="*/ 6704318 w 6704318"/>
              <a:gd name="connsiteY11" fmla="*/ 6721475 h 6721475"/>
              <a:gd name="connsiteX12" fmla="*/ 4906672 w 6704318"/>
              <a:gd name="connsiteY12" fmla="*/ 6721475 h 6721475"/>
              <a:gd name="connsiteX13" fmla="*/ 4815745 w 6704318"/>
              <a:gd name="connsiteY13" fmla="*/ 6721475 h 6721475"/>
              <a:gd name="connsiteX14" fmla="*/ 3018099 w 6704318"/>
              <a:gd name="connsiteY14" fmla="*/ 6721475 h 6721475"/>
              <a:gd name="connsiteX15" fmla="*/ 1460988 w 6704318"/>
              <a:gd name="connsiteY15" fmla="*/ 6721475 h 6721475"/>
              <a:gd name="connsiteX16" fmla="*/ 0 w 6704318"/>
              <a:gd name="connsiteY16" fmla="*/ 6721475 h 6721475"/>
              <a:gd name="connsiteX17" fmla="*/ 0 w 6704318"/>
              <a:gd name="connsiteY17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04318" h="6721475">
                <a:moveTo>
                  <a:pt x="0" y="0"/>
                </a:moveTo>
                <a:lnTo>
                  <a:pt x="641619" y="0"/>
                </a:lnTo>
                <a:lnTo>
                  <a:pt x="645291" y="0"/>
                </a:lnTo>
                <a:lnTo>
                  <a:pt x="1460988" y="0"/>
                </a:lnTo>
                <a:lnTo>
                  <a:pt x="2439265" y="0"/>
                </a:lnTo>
                <a:lnTo>
                  <a:pt x="2442937" y="0"/>
                </a:lnTo>
                <a:lnTo>
                  <a:pt x="2530192" y="0"/>
                </a:lnTo>
                <a:lnTo>
                  <a:pt x="2533864" y="0"/>
                </a:lnTo>
                <a:lnTo>
                  <a:pt x="4327838" y="0"/>
                </a:lnTo>
                <a:lnTo>
                  <a:pt x="4331510" y="0"/>
                </a:lnTo>
                <a:lnTo>
                  <a:pt x="4331510" y="10386"/>
                </a:lnTo>
                <a:lnTo>
                  <a:pt x="6704318" y="6721475"/>
                </a:lnTo>
                <a:lnTo>
                  <a:pt x="4906672" y="6721475"/>
                </a:lnTo>
                <a:lnTo>
                  <a:pt x="4815745" y="6721475"/>
                </a:lnTo>
                <a:lnTo>
                  <a:pt x="3018099" y="6721475"/>
                </a:lnTo>
                <a:lnTo>
                  <a:pt x="1460988" y="6721475"/>
                </a:lnTo>
                <a:lnTo>
                  <a:pt x="0" y="672147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9B9250-2837-42B9-9997-131808FF9503}"/>
              </a:ext>
            </a:extLst>
          </p:cNvPr>
          <p:cNvGrpSpPr/>
          <p:nvPr/>
        </p:nvGrpSpPr>
        <p:grpSpPr>
          <a:xfrm>
            <a:off x="832781" y="2903660"/>
            <a:ext cx="3931927" cy="1050685"/>
            <a:chOff x="4797041" y="952089"/>
            <a:chExt cx="2281238" cy="609599"/>
          </a:xfrm>
        </p:grpSpPr>
        <p:sp>
          <p:nvSpPr>
            <p:cNvPr id="26" name="Freeform 538">
              <a:extLst>
                <a:ext uri="{FF2B5EF4-FFF2-40B4-BE49-F238E27FC236}">
                  <a16:creationId xmlns:a16="http://schemas.microsoft.com/office/drawing/2014/main" id="{B867A878-913F-47AE-A151-F55FDEC1EA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27" name="Freeform 539">
              <a:extLst>
                <a:ext uri="{FF2B5EF4-FFF2-40B4-BE49-F238E27FC236}">
                  <a16:creationId xmlns:a16="http://schemas.microsoft.com/office/drawing/2014/main" id="{3DC3CB76-26C6-4631-8C62-ABD7B3B492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28" name="Freeform 540">
              <a:extLst>
                <a:ext uri="{FF2B5EF4-FFF2-40B4-BE49-F238E27FC236}">
                  <a16:creationId xmlns:a16="http://schemas.microsoft.com/office/drawing/2014/main" id="{5675BF14-7787-4D15-A2C4-5109E68B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29" name="Freeform 541">
              <a:extLst>
                <a:ext uri="{FF2B5EF4-FFF2-40B4-BE49-F238E27FC236}">
                  <a16:creationId xmlns:a16="http://schemas.microsoft.com/office/drawing/2014/main" id="{549D4A3B-82C1-4AB5-ABB1-FF74D0CBC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30" name="Freeform 542">
              <a:extLst>
                <a:ext uri="{FF2B5EF4-FFF2-40B4-BE49-F238E27FC236}">
                  <a16:creationId xmlns:a16="http://schemas.microsoft.com/office/drawing/2014/main" id="{F4D1B063-2152-4213-ADC9-D6DC3545B7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31" name="Freeform 543">
              <a:extLst>
                <a:ext uri="{FF2B5EF4-FFF2-40B4-BE49-F238E27FC236}">
                  <a16:creationId xmlns:a16="http://schemas.microsoft.com/office/drawing/2014/main" id="{4C30F9F3-CAD7-45C3-83CF-A1E156B006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32" name="Freeform 544">
              <a:extLst>
                <a:ext uri="{FF2B5EF4-FFF2-40B4-BE49-F238E27FC236}">
                  <a16:creationId xmlns:a16="http://schemas.microsoft.com/office/drawing/2014/main" id="{CAFE6CEB-1DB4-4EAF-9377-14E5BA42C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</p:spTree>
    <p:extLst>
      <p:ext uri="{BB962C8B-B14F-4D97-AF65-F5344CB8AC3E}">
        <p14:creationId xmlns:p14="http://schemas.microsoft.com/office/powerpoint/2010/main" val="1619388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4851" y="2"/>
            <a:ext cx="10287152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2F09DA5-2894-4EC1-9C90-665D9D6A5B9E}"/>
              </a:ext>
            </a:extLst>
          </p:cNvPr>
          <p:cNvSpPr>
            <a:spLocks/>
          </p:cNvSpPr>
          <p:nvPr/>
        </p:nvSpPr>
        <p:spPr>
          <a:xfrm>
            <a:off x="2" y="-1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2000">
                <a:schemeClr val="accent5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1A62CCF-F230-4083-B80D-8EFF998D4248}"/>
              </a:ext>
            </a:extLst>
          </p:cNvPr>
          <p:cNvSpPr>
            <a:spLocks/>
          </p:cNvSpPr>
          <p:nvPr/>
        </p:nvSpPr>
        <p:spPr>
          <a:xfrm>
            <a:off x="2" y="2"/>
            <a:ext cx="9111058" cy="6858000"/>
          </a:xfrm>
          <a:custGeom>
            <a:avLst/>
            <a:gdLst>
              <a:gd name="connsiteX0" fmla="*/ 0 w 8929549"/>
              <a:gd name="connsiteY0" fmla="*/ 0 h 6721475"/>
              <a:gd name="connsiteX1" fmla="*/ 1797646 w 8929549"/>
              <a:gd name="connsiteY1" fmla="*/ 0 h 6721475"/>
              <a:gd name="connsiteX2" fmla="*/ 1888573 w 8929549"/>
              <a:gd name="connsiteY2" fmla="*/ 0 h 6721475"/>
              <a:gd name="connsiteX3" fmla="*/ 2866850 w 8929549"/>
              <a:gd name="connsiteY3" fmla="*/ 0 h 6721475"/>
              <a:gd name="connsiteX4" fmla="*/ 2870522 w 8929549"/>
              <a:gd name="connsiteY4" fmla="*/ 0 h 6721475"/>
              <a:gd name="connsiteX5" fmla="*/ 3686219 w 8929549"/>
              <a:gd name="connsiteY5" fmla="*/ 0 h 6721475"/>
              <a:gd name="connsiteX6" fmla="*/ 4664496 w 8929549"/>
              <a:gd name="connsiteY6" fmla="*/ 0 h 6721475"/>
              <a:gd name="connsiteX7" fmla="*/ 4668168 w 8929549"/>
              <a:gd name="connsiteY7" fmla="*/ 0 h 6721475"/>
              <a:gd name="connsiteX8" fmla="*/ 4755423 w 8929549"/>
              <a:gd name="connsiteY8" fmla="*/ 0 h 6721475"/>
              <a:gd name="connsiteX9" fmla="*/ 4759095 w 8929549"/>
              <a:gd name="connsiteY9" fmla="*/ 0 h 6721475"/>
              <a:gd name="connsiteX10" fmla="*/ 6553069 w 8929549"/>
              <a:gd name="connsiteY10" fmla="*/ 0 h 6721475"/>
              <a:gd name="connsiteX11" fmla="*/ 6556741 w 8929549"/>
              <a:gd name="connsiteY11" fmla="*/ 0 h 6721475"/>
              <a:gd name="connsiteX12" fmla="*/ 6556741 w 8929549"/>
              <a:gd name="connsiteY12" fmla="*/ 10386 h 6721475"/>
              <a:gd name="connsiteX13" fmla="*/ 8929549 w 8929549"/>
              <a:gd name="connsiteY13" fmla="*/ 6721475 h 6721475"/>
              <a:gd name="connsiteX14" fmla="*/ 7131903 w 8929549"/>
              <a:gd name="connsiteY14" fmla="*/ 6721475 h 6721475"/>
              <a:gd name="connsiteX15" fmla="*/ 7040976 w 8929549"/>
              <a:gd name="connsiteY15" fmla="*/ 6721475 h 6721475"/>
              <a:gd name="connsiteX16" fmla="*/ 5243330 w 8929549"/>
              <a:gd name="connsiteY16" fmla="*/ 6721475 h 6721475"/>
              <a:gd name="connsiteX17" fmla="*/ 3686219 w 8929549"/>
              <a:gd name="connsiteY17" fmla="*/ 6721475 h 6721475"/>
              <a:gd name="connsiteX18" fmla="*/ 1888573 w 8929549"/>
              <a:gd name="connsiteY18" fmla="*/ 6721475 h 6721475"/>
              <a:gd name="connsiteX19" fmla="*/ 1797646 w 8929549"/>
              <a:gd name="connsiteY19" fmla="*/ 6721475 h 6721475"/>
              <a:gd name="connsiteX20" fmla="*/ 0 w 8929549"/>
              <a:gd name="connsiteY2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929549" h="6721475">
                <a:moveTo>
                  <a:pt x="0" y="0"/>
                </a:moveTo>
                <a:lnTo>
                  <a:pt x="1797646" y="0"/>
                </a:ln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3686219" y="0"/>
                </a:lnTo>
                <a:lnTo>
                  <a:pt x="4664496" y="0"/>
                </a:lnTo>
                <a:lnTo>
                  <a:pt x="4668168" y="0"/>
                </a:lnTo>
                <a:lnTo>
                  <a:pt x="4755423" y="0"/>
                </a:lnTo>
                <a:lnTo>
                  <a:pt x="4759095" y="0"/>
                </a:lnTo>
                <a:lnTo>
                  <a:pt x="6553069" y="0"/>
                </a:lnTo>
                <a:lnTo>
                  <a:pt x="6556741" y="0"/>
                </a:lnTo>
                <a:lnTo>
                  <a:pt x="6556741" y="10386"/>
                </a:lnTo>
                <a:lnTo>
                  <a:pt x="8929549" y="6721475"/>
                </a:lnTo>
                <a:lnTo>
                  <a:pt x="7131903" y="6721475"/>
                </a:lnTo>
                <a:lnTo>
                  <a:pt x="7040976" y="6721475"/>
                </a:lnTo>
                <a:lnTo>
                  <a:pt x="5243330" y="6721475"/>
                </a:lnTo>
                <a:lnTo>
                  <a:pt x="3686219" y="6721475"/>
                </a:lnTo>
                <a:lnTo>
                  <a:pt x="1888573" y="6721475"/>
                </a:lnTo>
                <a:lnTo>
                  <a:pt x="1797646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870" y="234867"/>
            <a:ext cx="11537600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5B3C1C9-164C-45D0-AE40-099216F858A4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32351"/>
            <a:ext cx="118622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765" smtClean="0">
                <a:solidFill>
                  <a:schemeClr val="bg1"/>
                </a:solidFill>
              </a:rPr>
              <a:pPr lvl="0"/>
              <a:t>‹Nº›</a:t>
            </a:fld>
            <a:endParaRPr lang="en-US" sz="765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A091C01-859B-4D5E-A46D-7F6F795C667F}"/>
              </a:ext>
            </a:extLst>
          </p:cNvPr>
          <p:cNvGrpSpPr/>
          <p:nvPr/>
        </p:nvGrpSpPr>
        <p:grpSpPr>
          <a:xfrm>
            <a:off x="10829031" y="6608571"/>
            <a:ext cx="618531" cy="165283"/>
            <a:chOff x="4797041" y="952089"/>
            <a:chExt cx="2281238" cy="609599"/>
          </a:xfrm>
          <a:solidFill>
            <a:schemeClr val="bg1"/>
          </a:solidFill>
        </p:grpSpPr>
        <p:sp>
          <p:nvSpPr>
            <p:cNvPr id="14" name="Freeform 538">
              <a:extLst>
                <a:ext uri="{FF2B5EF4-FFF2-40B4-BE49-F238E27FC236}">
                  <a16:creationId xmlns:a16="http://schemas.microsoft.com/office/drawing/2014/main" id="{1EEA9E48-40F1-4821-856D-CFC901698D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5" name="Freeform 539">
              <a:extLst>
                <a:ext uri="{FF2B5EF4-FFF2-40B4-BE49-F238E27FC236}">
                  <a16:creationId xmlns:a16="http://schemas.microsoft.com/office/drawing/2014/main" id="{1BC14002-6AC7-43A0-B8FC-6FDAA1EF5D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6" name="Freeform 540">
              <a:extLst>
                <a:ext uri="{FF2B5EF4-FFF2-40B4-BE49-F238E27FC236}">
                  <a16:creationId xmlns:a16="http://schemas.microsoft.com/office/drawing/2014/main" id="{CE175A35-FD80-4EAC-B7C8-A2B57FC263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7" name="Freeform 541">
              <a:extLst>
                <a:ext uri="{FF2B5EF4-FFF2-40B4-BE49-F238E27FC236}">
                  <a16:creationId xmlns:a16="http://schemas.microsoft.com/office/drawing/2014/main" id="{6AD157DA-7E3C-4887-BCF8-2390422DB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8" name="Freeform 542">
              <a:extLst>
                <a:ext uri="{FF2B5EF4-FFF2-40B4-BE49-F238E27FC236}">
                  <a16:creationId xmlns:a16="http://schemas.microsoft.com/office/drawing/2014/main" id="{0AC7FD69-DF48-4BE9-830A-FAECD1F40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9" name="Freeform 543">
              <a:extLst>
                <a:ext uri="{FF2B5EF4-FFF2-40B4-BE49-F238E27FC236}">
                  <a16:creationId xmlns:a16="http://schemas.microsoft.com/office/drawing/2014/main" id="{C3320177-C075-41D2-8D4D-084DB9CC0E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20" name="Freeform 544">
              <a:extLst>
                <a:ext uri="{FF2B5EF4-FFF2-40B4-BE49-F238E27FC236}">
                  <a16:creationId xmlns:a16="http://schemas.microsoft.com/office/drawing/2014/main" id="{9965B84C-9390-47C0-9D84-BE84FD66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B2E4C0F-B532-4C36-8D02-51D33DE6C75D}"/>
              </a:ext>
            </a:extLst>
          </p:cNvPr>
          <p:cNvCxnSpPr>
            <a:cxnSpLocks/>
          </p:cNvCxnSpPr>
          <p:nvPr/>
        </p:nvCxnSpPr>
        <p:spPr>
          <a:xfrm>
            <a:off x="11495664" y="6560370"/>
            <a:ext cx="105233" cy="29763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3CCCC03-A808-48EC-A7E1-59D7CD8E471A}"/>
              </a:ext>
            </a:extLst>
          </p:cNvPr>
          <p:cNvCxnSpPr>
            <a:cxnSpLocks/>
          </p:cNvCxnSpPr>
          <p:nvPr/>
        </p:nvCxnSpPr>
        <p:spPr>
          <a:xfrm>
            <a:off x="11495662" y="6560370"/>
            <a:ext cx="3351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147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AA97A3-C0E7-4D83-B8E9-2B604E020E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26" imgH="526" progId="TCLayout.ActiveDocument.1">
                  <p:embed/>
                </p:oleObj>
              </mc:Choice>
              <mc:Fallback>
                <p:oleObj name="Diapositiva de think-cell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AA97A3-C0E7-4D83-B8E9-2B604E020E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7EA385-3644-4906-9E5C-2B86AFAE0C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0C9D11-DC05-4B52-8459-44195AD87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79" y="138524"/>
            <a:ext cx="11725491" cy="408237"/>
          </a:xfrm>
          <a:prstGeom prst="rect">
            <a:avLst/>
          </a:prstGeom>
        </p:spPr>
        <p:txBody>
          <a:bodyPr/>
          <a:lstStyle>
            <a:lvl1pPr>
              <a:defRPr sz="287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3 Marcador de contenido">
            <a:extLst>
              <a:ext uri="{FF2B5EF4-FFF2-40B4-BE49-F238E27FC236}">
                <a16:creationId xmlns:a16="http://schemas.microsoft.com/office/drawing/2014/main" id="{E1A50097-97E8-49E0-8EC2-5B50AF24D9B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49870" y="1075092"/>
            <a:ext cx="11537599" cy="5400000"/>
          </a:xfrm>
          <a:prstGeom prst="rect">
            <a:avLst/>
          </a:prstGeom>
        </p:spPr>
        <p:txBody>
          <a:bodyPr/>
          <a:lstStyle>
            <a:lvl1pPr>
              <a:defRPr sz="1531">
                <a:solidFill>
                  <a:schemeClr val="accent4"/>
                </a:solidFill>
                <a:latin typeface="Flexo" pitchFamily="50" charset="0"/>
              </a:defRPr>
            </a:lvl1pPr>
            <a:lvl2pPr>
              <a:defRPr sz="1360">
                <a:solidFill>
                  <a:schemeClr val="accent4"/>
                </a:solidFill>
                <a:latin typeface="Flexo" pitchFamily="50" charset="0"/>
              </a:defRPr>
            </a:lvl2pPr>
            <a:lvl3pPr>
              <a:defRPr sz="1190">
                <a:solidFill>
                  <a:schemeClr val="accent4"/>
                </a:solidFill>
                <a:latin typeface="Flexo" pitchFamily="50" charset="0"/>
              </a:defRPr>
            </a:lvl3pPr>
            <a:lvl4pPr>
              <a:defRPr sz="1021">
                <a:solidFill>
                  <a:schemeClr val="accent4"/>
                </a:solidFill>
                <a:latin typeface="Flexo" pitchFamily="50" charset="0"/>
              </a:defRPr>
            </a:lvl4pPr>
            <a:lvl5pPr>
              <a:defRPr sz="1021">
                <a:solidFill>
                  <a:schemeClr val="accent4"/>
                </a:solidFill>
                <a:latin typeface="Flexo" pitchFamily="50" charset="0"/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011390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4350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91BB414A-2D73-42B9-92A2-EB6CE3419F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17566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91BB414A-2D73-42B9-92A2-EB6CE3419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B608401-8210-426F-82F8-233810194E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625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6CE2CAA8-499F-4221-A888-CAF8E92C8DC4}"/>
              </a:ext>
            </a:extLst>
          </p:cNvPr>
          <p:cNvSpPr/>
          <p:nvPr userDrawn="1"/>
        </p:nvSpPr>
        <p:spPr>
          <a:xfrm>
            <a:off x="0" y="1"/>
            <a:ext cx="12192000" cy="13255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80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B40BA75-87CD-4EEF-B420-36E18EFD7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9830" y="13441"/>
            <a:ext cx="10414278" cy="1325563"/>
          </a:xfrm>
        </p:spPr>
        <p:txBody>
          <a:bodyPr>
            <a:normAutofit/>
          </a:bodyPr>
          <a:lstStyle>
            <a:lvl1pPr>
              <a:defRPr sz="2625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5E436D6-CEB8-4BDB-AD51-FEDFA6AF98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Flexo" pitchFamily="50" charset="0"/>
              </a:defRPr>
            </a:lvl1pPr>
            <a:lvl2pPr>
              <a:defRPr>
                <a:latin typeface="Flexo" pitchFamily="50" charset="0"/>
              </a:defRPr>
            </a:lvl2pPr>
            <a:lvl3pPr>
              <a:defRPr>
                <a:latin typeface="Flexo" pitchFamily="50" charset="0"/>
              </a:defRPr>
            </a:lvl3pPr>
            <a:lvl4pPr>
              <a:defRPr>
                <a:latin typeface="Flexo" pitchFamily="50" charset="0"/>
              </a:defRPr>
            </a:lvl4pPr>
            <a:lvl5pPr>
              <a:defRPr>
                <a:latin typeface="Flexo" pitchFamily="50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6BC2ADE-A35B-4078-9A90-C4E3A16B8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3/06/2025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26DD9A-3BDE-4D01-9C28-7E502F7C6C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4B15885-C053-4C57-A7E5-7B1E5D74E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01F67A7-FE2A-4B52-A94F-33EF824C33B4}"/>
              </a:ext>
            </a:extLst>
          </p:cNvPr>
          <p:cNvSpPr txBox="1"/>
          <p:nvPr userDrawn="1"/>
        </p:nvSpPr>
        <p:spPr>
          <a:xfrm>
            <a:off x="-1185178" y="1052989"/>
            <a:ext cx="1034084" cy="294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13" b="1">
                <a:solidFill>
                  <a:schemeClr val="bg1"/>
                </a:solidFill>
                <a:latin typeface="Flexo" pitchFamily="50" charset="0"/>
              </a:rPr>
              <a:t>Paleta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EACF40E6-2288-4227-9DBF-579816164EB4}"/>
              </a:ext>
            </a:extLst>
          </p:cNvPr>
          <p:cNvSpPr/>
          <p:nvPr userDrawn="1"/>
        </p:nvSpPr>
        <p:spPr>
          <a:xfrm>
            <a:off x="-1165412" y="2046743"/>
            <a:ext cx="945816" cy="636011"/>
          </a:xfrm>
          <a:prstGeom prst="rect">
            <a:avLst/>
          </a:prstGeom>
          <a:solidFill>
            <a:srgbClr val="00B2CE"/>
          </a:solidFill>
          <a:ln w="9525">
            <a:solidFill>
              <a:srgbClr val="00B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78796BE-6BD0-4387-BDAA-F5A4A0EED679}"/>
              </a:ext>
            </a:extLst>
          </p:cNvPr>
          <p:cNvSpPr/>
          <p:nvPr userDrawn="1"/>
        </p:nvSpPr>
        <p:spPr>
          <a:xfrm>
            <a:off x="-1165412" y="2683017"/>
            <a:ext cx="945816" cy="636011"/>
          </a:xfrm>
          <a:prstGeom prst="rect">
            <a:avLst/>
          </a:prstGeom>
          <a:solidFill>
            <a:srgbClr val="FF8000"/>
          </a:solidFill>
          <a:ln w="9525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53CBE68E-56E3-4445-8607-9E16685012D6}"/>
              </a:ext>
            </a:extLst>
          </p:cNvPr>
          <p:cNvSpPr/>
          <p:nvPr userDrawn="1"/>
        </p:nvSpPr>
        <p:spPr>
          <a:xfrm>
            <a:off x="-1165412" y="3319289"/>
            <a:ext cx="945816" cy="636011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330D8708-FD51-4299-AA82-04F48430F56E}"/>
              </a:ext>
            </a:extLst>
          </p:cNvPr>
          <p:cNvSpPr/>
          <p:nvPr userDrawn="1"/>
        </p:nvSpPr>
        <p:spPr>
          <a:xfrm>
            <a:off x="-1165412" y="3955562"/>
            <a:ext cx="945816" cy="636011"/>
          </a:xfrm>
          <a:prstGeom prst="rect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70F0E84E-3E0F-4C45-955C-836D5DCFDB4C}"/>
              </a:ext>
            </a:extLst>
          </p:cNvPr>
          <p:cNvSpPr/>
          <p:nvPr userDrawn="1"/>
        </p:nvSpPr>
        <p:spPr>
          <a:xfrm>
            <a:off x="-1165412" y="4591836"/>
            <a:ext cx="945816" cy="636011"/>
          </a:xfrm>
          <a:prstGeom prst="rect">
            <a:avLst/>
          </a:prstGeom>
          <a:solidFill>
            <a:srgbClr val="E2007B"/>
          </a:solidFill>
          <a:ln w="9525">
            <a:solidFill>
              <a:srgbClr val="E20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2">
                  <a:lumMod val="1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65455426-6CC9-4B21-82A3-E276A2C10D31}"/>
              </a:ext>
            </a:extLst>
          </p:cNvPr>
          <p:cNvSpPr/>
          <p:nvPr userDrawn="1"/>
        </p:nvSpPr>
        <p:spPr>
          <a:xfrm>
            <a:off x="-1165412" y="5228109"/>
            <a:ext cx="945816" cy="636011"/>
          </a:xfrm>
          <a:prstGeom prst="rect">
            <a:avLst/>
          </a:prstGeom>
          <a:solidFill>
            <a:srgbClr val="7F7F7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19B0C62-3BCA-4EC3-A956-17A93727D4CA}"/>
              </a:ext>
            </a:extLst>
          </p:cNvPr>
          <p:cNvSpPr/>
          <p:nvPr userDrawn="1"/>
        </p:nvSpPr>
        <p:spPr>
          <a:xfrm>
            <a:off x="-1165413" y="1410436"/>
            <a:ext cx="945816" cy="636011"/>
          </a:xfrm>
          <a:prstGeom prst="rect">
            <a:avLst/>
          </a:prstGeom>
          <a:solidFill>
            <a:srgbClr val="002C71"/>
          </a:solidFill>
          <a:ln w="9525">
            <a:solidFill>
              <a:srgbClr val="012D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8" tIns="42859" rIns="85718" bIns="4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EB0D6C6E-447E-4B43-ACE0-D690DA523CA2}"/>
              </a:ext>
            </a:extLst>
          </p:cNvPr>
          <p:cNvSpPr/>
          <p:nvPr userDrawn="1"/>
        </p:nvSpPr>
        <p:spPr bwMode="auto">
          <a:xfrm>
            <a:off x="-1162607" y="5864332"/>
            <a:ext cx="950702" cy="685800"/>
          </a:xfrm>
          <a:prstGeom prst="rect">
            <a:avLst/>
          </a:prstGeom>
          <a:solidFill>
            <a:srgbClr val="BFBFBF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5718" tIns="85718" rIns="85718" bIns="8571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33359"/>
            <a:endParaRPr lang="en-US" sz="1125">
              <a:solidFill>
                <a:schemeClr val="bg2">
                  <a:lumMod val="10000"/>
                </a:schemeClr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1187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7C797C-09E0-4702-B415-DC7ECB3101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5985" y="997227"/>
            <a:ext cx="6626016" cy="4876745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1" y="2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81" y="469228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722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21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339" baseline="0" noProof="0">
                <a:solidFill>
                  <a:schemeClr val="accent4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5" y="3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4A0DA11-94E0-4542-8DAA-020EDC8AC6C9}"/>
              </a:ext>
            </a:extLst>
          </p:cNvPr>
          <p:cNvSpPr>
            <a:spLocks/>
          </p:cNvSpPr>
          <p:nvPr/>
        </p:nvSpPr>
        <p:spPr>
          <a:xfrm>
            <a:off x="5810984" y="5521368"/>
            <a:ext cx="2874851" cy="1336633"/>
          </a:xfrm>
          <a:custGeom>
            <a:avLst/>
            <a:gdLst>
              <a:gd name="connsiteX0" fmla="*/ 0 w 2817579"/>
              <a:gd name="connsiteY0" fmla="*/ 0 h 1310024"/>
              <a:gd name="connsiteX1" fmla="*/ 2354400 w 2817579"/>
              <a:gd name="connsiteY1" fmla="*/ 0 h 1310024"/>
              <a:gd name="connsiteX2" fmla="*/ 2358072 w 2817579"/>
              <a:gd name="connsiteY2" fmla="*/ 0 h 1310024"/>
              <a:gd name="connsiteX3" fmla="*/ 2358072 w 2817579"/>
              <a:gd name="connsiteY3" fmla="*/ 10386 h 1310024"/>
              <a:gd name="connsiteX4" fmla="*/ 2817579 w 2817579"/>
              <a:gd name="connsiteY4" fmla="*/ 1310024 h 1310024"/>
              <a:gd name="connsiteX5" fmla="*/ 459508 w 2817579"/>
              <a:gd name="connsiteY5" fmla="*/ 1310024 h 1310024"/>
              <a:gd name="connsiteX6" fmla="*/ 0 w 2817579"/>
              <a:gd name="connsiteY6" fmla="*/ 10386 h 1310024"/>
              <a:gd name="connsiteX7" fmla="*/ 0 w 2817579"/>
              <a:gd name="connsiteY7" fmla="*/ 0 h 1310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17579" h="1310024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2817579" y="1310024"/>
                </a:lnTo>
                <a:lnTo>
                  <a:pt x="459508" y="1310024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8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722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060" b="1" baseline="0">
                <a:solidFill>
                  <a:schemeClr val="accent4"/>
                </a:solidFill>
                <a:latin typeface="Flexo" pitchFamily="50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5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39" cap="all" baseline="0">
                <a:solidFill>
                  <a:schemeClr val="accent4"/>
                </a:solidFill>
                <a:latin typeface="Flexo" pitchFamily="50" charset="0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3" y="922325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562C820-CEB3-4AFD-B479-ED0141E3E705}"/>
              </a:ext>
            </a:extLst>
          </p:cNvPr>
          <p:cNvCxnSpPr>
            <a:cxnSpLocks/>
            <a:stCxn id="117" idx="0"/>
            <a:endCxn id="117" idx="3"/>
          </p:cNvCxnSpPr>
          <p:nvPr/>
        </p:nvCxnSpPr>
        <p:spPr>
          <a:xfrm>
            <a:off x="3853924" y="754088"/>
            <a:ext cx="433423" cy="11824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FAA0926-482B-4801-9155-BC0A4B20820A}"/>
              </a:ext>
            </a:extLst>
          </p:cNvPr>
          <p:cNvCxnSpPr>
            <a:cxnSpLocks/>
            <a:endCxn id="117" idx="3"/>
          </p:cNvCxnSpPr>
          <p:nvPr/>
        </p:nvCxnSpPr>
        <p:spPr>
          <a:xfrm flipH="1">
            <a:off x="4287347" y="1936526"/>
            <a:ext cx="441077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6553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A6660-F659-47AC-84DC-2FA8A3B08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55C4FE-0FC7-4951-9026-5D4A4E8B88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78266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15C8C78C-7F33-4A6B-87A1-75A5656AD06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639398" y="1240193"/>
            <a:ext cx="6552605" cy="4368338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1" y="2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81" y="469228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722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21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5" y="3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060" b="1" baseline="0">
                <a:solidFill>
                  <a:schemeClr val="bg1"/>
                </a:solidFill>
                <a:latin typeface="Flexo" pitchFamily="50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5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39" cap="all" baseline="0">
                <a:solidFill>
                  <a:schemeClr val="bg1"/>
                </a:solidFill>
                <a:latin typeface="Flexo" pitchFamily="50" charset="0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8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722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3" y="922325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1C1D061B-23AF-46A0-9322-57E283404A7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27846" y="0"/>
            <a:ext cx="2349744" cy="575048"/>
          </a:xfrm>
          <a:custGeom>
            <a:avLst/>
            <a:gdLst>
              <a:gd name="connsiteX0" fmla="*/ 0 w 2302933"/>
              <a:gd name="connsiteY0" fmla="*/ 0 h 563600"/>
              <a:gd name="connsiteX1" fmla="*/ 2103664 w 2302933"/>
              <a:gd name="connsiteY1" fmla="*/ 0 h 563600"/>
              <a:gd name="connsiteX2" fmla="*/ 2302933 w 2302933"/>
              <a:gd name="connsiteY2" fmla="*/ 563600 h 563600"/>
              <a:gd name="connsiteX3" fmla="*/ 199269 w 2302933"/>
              <a:gd name="connsiteY3" fmla="*/ 563600 h 563600"/>
              <a:gd name="connsiteX4" fmla="*/ 0 w 2302933"/>
              <a:gd name="connsiteY4" fmla="*/ 0 h 5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2933" h="563600">
                <a:moveTo>
                  <a:pt x="0" y="0"/>
                </a:moveTo>
                <a:lnTo>
                  <a:pt x="2103664" y="0"/>
                </a:lnTo>
                <a:lnTo>
                  <a:pt x="2302933" y="563600"/>
                </a:lnTo>
                <a:lnTo>
                  <a:pt x="199269" y="563600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56276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6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954" name="Picture 546" descr="https://www.bcp.com.bo/Content/images/Otros/imagen001.jpg">
            <a:extLst>
              <a:ext uri="{FF2B5EF4-FFF2-40B4-BE49-F238E27FC236}">
                <a16:creationId xmlns:a16="http://schemas.microsoft.com/office/drawing/2014/main" id="{3EA97854-121E-4682-AC9F-6396B15824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09560" y="984027"/>
            <a:ext cx="7782440" cy="48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1" y="2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81" y="469228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722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21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339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26452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5" y="3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68F6781-56A0-43F1-A5CE-A7A1FA08FECD}"/>
              </a:ext>
            </a:extLst>
          </p:cNvPr>
          <p:cNvSpPr>
            <a:spLocks/>
          </p:cNvSpPr>
          <p:nvPr/>
        </p:nvSpPr>
        <p:spPr>
          <a:xfrm>
            <a:off x="5549498" y="4721192"/>
            <a:ext cx="3157771" cy="2136809"/>
          </a:xfrm>
          <a:custGeom>
            <a:avLst/>
            <a:gdLst>
              <a:gd name="connsiteX0" fmla="*/ 0 w 3094862"/>
              <a:gd name="connsiteY0" fmla="*/ 0 h 2094271"/>
              <a:gd name="connsiteX1" fmla="*/ 2354400 w 3094862"/>
              <a:gd name="connsiteY1" fmla="*/ 0 h 2094271"/>
              <a:gd name="connsiteX2" fmla="*/ 2358072 w 3094862"/>
              <a:gd name="connsiteY2" fmla="*/ 0 h 2094271"/>
              <a:gd name="connsiteX3" fmla="*/ 2358072 w 3094862"/>
              <a:gd name="connsiteY3" fmla="*/ 10386 h 2094271"/>
              <a:gd name="connsiteX4" fmla="*/ 3094862 w 3094862"/>
              <a:gd name="connsiteY4" fmla="*/ 2094271 h 2094271"/>
              <a:gd name="connsiteX5" fmla="*/ 736790 w 3094862"/>
              <a:gd name="connsiteY5" fmla="*/ 2094271 h 2094271"/>
              <a:gd name="connsiteX6" fmla="*/ 0 w 3094862"/>
              <a:gd name="connsiteY6" fmla="*/ 10386 h 2094271"/>
              <a:gd name="connsiteX7" fmla="*/ 0 w 3094862"/>
              <a:gd name="connsiteY7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94862" h="2094271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3094862" y="2094271"/>
                </a:lnTo>
                <a:lnTo>
                  <a:pt x="736790" y="2094271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8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722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060" b="1" baseline="0">
                <a:solidFill>
                  <a:schemeClr val="bg1"/>
                </a:solidFill>
                <a:latin typeface="Flexo" pitchFamily="50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5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39" cap="all" baseline="0">
                <a:solidFill>
                  <a:schemeClr val="bg1"/>
                </a:solidFill>
                <a:latin typeface="Flexo" pitchFamily="50" charset="0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3" y="922325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</p:spTree>
    <p:extLst>
      <p:ext uri="{BB962C8B-B14F-4D97-AF65-F5344CB8AC3E}">
        <p14:creationId xmlns:p14="http://schemas.microsoft.com/office/powerpoint/2010/main" val="246097857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111F63E0-C3ED-4626-A183-910710DDBB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4387" r="28987" b="1"/>
          <a:stretch/>
        </p:blipFill>
        <p:spPr>
          <a:xfrm>
            <a:off x="5798982" y="2776"/>
            <a:ext cx="6399329" cy="6859406"/>
          </a:xfrm>
          <a:custGeom>
            <a:avLst/>
            <a:gdLst>
              <a:gd name="connsiteX0" fmla="*/ 0 w 5997632"/>
              <a:gd name="connsiteY0" fmla="*/ 0 h 6858000"/>
              <a:gd name="connsiteX1" fmla="*/ 5997632 w 5997632"/>
              <a:gd name="connsiteY1" fmla="*/ 0 h 6858000"/>
              <a:gd name="connsiteX2" fmla="*/ 5997632 w 5997632"/>
              <a:gd name="connsiteY2" fmla="*/ 6858000 h 6858000"/>
              <a:gd name="connsiteX3" fmla="*/ 3178693 w 599763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7632" h="6858000">
                <a:moveTo>
                  <a:pt x="0" y="0"/>
                </a:moveTo>
                <a:lnTo>
                  <a:pt x="5997632" y="0"/>
                </a:lnTo>
                <a:lnTo>
                  <a:pt x="5997632" y="6858000"/>
                </a:lnTo>
                <a:lnTo>
                  <a:pt x="3178693" y="6858000"/>
                </a:lnTo>
                <a:close/>
              </a:path>
            </a:pathLst>
          </a:cu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A55B3B4F-571A-4996-B9F5-C7B90D1D3C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1422" r="2266" b="1"/>
          <a:stretch/>
        </p:blipFill>
        <p:spPr>
          <a:xfrm>
            <a:off x="-121396" y="3242"/>
            <a:ext cx="9751997" cy="6857983"/>
          </a:xfrm>
          <a:custGeom>
            <a:avLst/>
            <a:gdLst>
              <a:gd name="connsiteX0" fmla="*/ 0 w 9141744"/>
              <a:gd name="connsiteY0" fmla="*/ 0 h 6863485"/>
              <a:gd name="connsiteX1" fmla="*/ 5963051 w 9141744"/>
              <a:gd name="connsiteY1" fmla="*/ 0 h 6863485"/>
              <a:gd name="connsiteX2" fmla="*/ 9141744 w 9141744"/>
              <a:gd name="connsiteY2" fmla="*/ 6863485 h 6863485"/>
              <a:gd name="connsiteX3" fmla="*/ 0 w 9141744"/>
              <a:gd name="connsiteY3" fmla="*/ 6863485 h 6863485"/>
              <a:gd name="connsiteX4" fmla="*/ 0 w 9141744"/>
              <a:gd name="connsiteY4" fmla="*/ 0 h 6863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1744" h="6863485">
                <a:moveTo>
                  <a:pt x="0" y="0"/>
                </a:moveTo>
                <a:lnTo>
                  <a:pt x="5963051" y="0"/>
                </a:lnTo>
                <a:lnTo>
                  <a:pt x="9141744" y="6863485"/>
                </a:lnTo>
                <a:lnTo>
                  <a:pt x="0" y="6863485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23" name="Freeform: Shape 9">
            <a:extLst>
              <a:ext uri="{FF2B5EF4-FFF2-40B4-BE49-F238E27FC236}">
                <a16:creationId xmlns:a16="http://schemas.microsoft.com/office/drawing/2014/main" id="{871990D3-4140-430A-8870-910C1CB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596129"/>
            <a:ext cx="6176619" cy="2978655"/>
          </a:xfrm>
          <a:custGeom>
            <a:avLst/>
            <a:gdLst>
              <a:gd name="connsiteX0" fmla="*/ 0 w 6434783"/>
              <a:gd name="connsiteY0" fmla="*/ 0 h 3310306"/>
              <a:gd name="connsiteX1" fmla="*/ 3829872 w 6434783"/>
              <a:gd name="connsiteY1" fmla="*/ 0 h 3310306"/>
              <a:gd name="connsiteX2" fmla="*/ 4896100 w 6434783"/>
              <a:gd name="connsiteY2" fmla="*/ 0 h 3310306"/>
              <a:gd name="connsiteX3" fmla="*/ 4901677 w 6434783"/>
              <a:gd name="connsiteY3" fmla="*/ 0 h 3310306"/>
              <a:gd name="connsiteX4" fmla="*/ 6434783 w 6434783"/>
              <a:gd name="connsiteY4" fmla="*/ 3310306 h 3310306"/>
              <a:gd name="connsiteX5" fmla="*/ 0 w 6434783"/>
              <a:gd name="connsiteY5" fmla="*/ 3310306 h 3310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34783" h="3310306">
                <a:moveTo>
                  <a:pt x="0" y="0"/>
                </a:moveTo>
                <a:lnTo>
                  <a:pt x="3829872" y="0"/>
                </a:lnTo>
                <a:lnTo>
                  <a:pt x="4896100" y="0"/>
                </a:lnTo>
                <a:lnTo>
                  <a:pt x="4901677" y="0"/>
                </a:lnTo>
                <a:lnTo>
                  <a:pt x="6434783" y="3310306"/>
                </a:lnTo>
                <a:lnTo>
                  <a:pt x="0" y="3310306"/>
                </a:lnTo>
                <a:close/>
              </a:path>
            </a:pathLst>
          </a:custGeom>
          <a:solidFill>
            <a:sysClr val="windowText" lastClr="000000">
              <a:lumMod val="85000"/>
              <a:lumOff val="15000"/>
              <a:alpha val="88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2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itle">
            <a:extLst>
              <a:ext uri="{FF2B5EF4-FFF2-40B4-BE49-F238E27FC236}">
                <a16:creationId xmlns:a16="http://schemas.microsoft.com/office/drawing/2014/main" id="{1E49D242-2AEB-4720-8E5A-FCF227CE55D6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gray">
          <a:xfrm>
            <a:off x="300338" y="214061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060" b="1" baseline="0">
                <a:solidFill>
                  <a:schemeClr val="bg1"/>
                </a:solidFill>
                <a:latin typeface="Flexo" pitchFamily="50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36" name="Subtitle">
            <a:extLst>
              <a:ext uri="{FF2B5EF4-FFF2-40B4-BE49-F238E27FC236}">
                <a16:creationId xmlns:a16="http://schemas.microsoft.com/office/drawing/2014/main" id="{916AC5E0-7715-4E37-B482-17D2D5E9804F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0338" y="3681805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339" cap="all" baseline="0">
                <a:solidFill>
                  <a:schemeClr val="bg1"/>
                </a:solidFill>
                <a:latin typeface="Flexo" pitchFamily="50" charset="0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19" name="Freeform: Shape 32">
            <a:extLst>
              <a:ext uri="{FF2B5EF4-FFF2-40B4-BE49-F238E27FC236}">
                <a16:creationId xmlns:a16="http://schemas.microsoft.com/office/drawing/2014/main" id="{8AF02F00-1CF1-48B5-A06B-B6C76384C90C}"/>
              </a:ext>
            </a:extLst>
          </p:cNvPr>
          <p:cNvSpPr>
            <a:spLocks/>
          </p:cNvSpPr>
          <p:nvPr userDrawn="1"/>
        </p:nvSpPr>
        <p:spPr>
          <a:xfrm>
            <a:off x="3904675" y="4213"/>
            <a:ext cx="3058632" cy="1437428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alpha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10" name="Freeform: Shape 116">
            <a:extLst>
              <a:ext uri="{FF2B5EF4-FFF2-40B4-BE49-F238E27FC236}">
                <a16:creationId xmlns:a16="http://schemas.microsoft.com/office/drawing/2014/main" id="{DBD45118-AD42-421A-8BFE-C9B603FC0AEA}"/>
              </a:ext>
            </a:extLst>
          </p:cNvPr>
          <p:cNvSpPr>
            <a:spLocks/>
          </p:cNvSpPr>
          <p:nvPr userDrawn="1"/>
        </p:nvSpPr>
        <p:spPr bwMode="auto">
          <a:xfrm>
            <a:off x="3883370" y="76179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196"/>
            </a:srgbClr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87456" tIns="43730" rIns="87456" bIns="43730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722"/>
          </a:p>
        </p:txBody>
      </p:sp>
      <p:grpSp>
        <p:nvGrpSpPr>
          <p:cNvPr id="11" name="Group 68">
            <a:extLst>
              <a:ext uri="{FF2B5EF4-FFF2-40B4-BE49-F238E27FC236}">
                <a16:creationId xmlns:a16="http://schemas.microsoft.com/office/drawing/2014/main" id="{9C66B2A6-FDA8-49B6-AAD6-C64FD0BC438E}"/>
              </a:ext>
            </a:extLst>
          </p:cNvPr>
          <p:cNvGrpSpPr/>
          <p:nvPr userDrawn="1"/>
        </p:nvGrpSpPr>
        <p:grpSpPr>
          <a:xfrm>
            <a:off x="4754603" y="922325"/>
            <a:ext cx="3165816" cy="845966"/>
            <a:chOff x="4797041" y="952089"/>
            <a:chExt cx="2281238" cy="609599"/>
          </a:xfrm>
        </p:grpSpPr>
        <p:sp>
          <p:nvSpPr>
            <p:cNvPr id="12" name="Freeform 538">
              <a:extLst>
                <a:ext uri="{FF2B5EF4-FFF2-40B4-BE49-F238E27FC236}">
                  <a16:creationId xmlns:a16="http://schemas.microsoft.com/office/drawing/2014/main" id="{EA5BA95F-981E-4B27-98F3-9ABDF7321C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3" name="Freeform 539">
              <a:extLst>
                <a:ext uri="{FF2B5EF4-FFF2-40B4-BE49-F238E27FC236}">
                  <a16:creationId xmlns:a16="http://schemas.microsoft.com/office/drawing/2014/main" id="{B922CC32-C03D-4D8A-9EB4-D1639D693E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4" name="Freeform 540">
              <a:extLst>
                <a:ext uri="{FF2B5EF4-FFF2-40B4-BE49-F238E27FC236}">
                  <a16:creationId xmlns:a16="http://schemas.microsoft.com/office/drawing/2014/main" id="{1DB37E64-E7A5-468A-8649-4435FBB623C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5" name="Freeform 541">
              <a:extLst>
                <a:ext uri="{FF2B5EF4-FFF2-40B4-BE49-F238E27FC236}">
                  <a16:creationId xmlns:a16="http://schemas.microsoft.com/office/drawing/2014/main" id="{431D0D1A-BFA1-492D-A025-B569E427BF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6" name="Freeform 542">
              <a:extLst>
                <a:ext uri="{FF2B5EF4-FFF2-40B4-BE49-F238E27FC236}">
                  <a16:creationId xmlns:a16="http://schemas.microsoft.com/office/drawing/2014/main" id="{85F567BB-A4A9-490D-B128-07EE682C58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7" name="Freeform 543">
              <a:extLst>
                <a:ext uri="{FF2B5EF4-FFF2-40B4-BE49-F238E27FC236}">
                  <a16:creationId xmlns:a16="http://schemas.microsoft.com/office/drawing/2014/main" id="{A6894467-A009-480D-A91F-F6E392010E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8" name="Freeform 544">
              <a:extLst>
                <a:ext uri="{FF2B5EF4-FFF2-40B4-BE49-F238E27FC236}">
                  <a16:creationId xmlns:a16="http://schemas.microsoft.com/office/drawing/2014/main" id="{63435447-86B4-4B18-A0AB-AE2C4D3923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</p:spTree>
    <p:extLst>
      <p:ext uri="{BB962C8B-B14F-4D97-AF65-F5344CB8AC3E}">
        <p14:creationId xmlns:p14="http://schemas.microsoft.com/office/powerpoint/2010/main" val="1370750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111F63E0-C3ED-4626-A183-910710DDBB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4387" r="28987" b="1"/>
          <a:stretch/>
        </p:blipFill>
        <p:spPr>
          <a:xfrm>
            <a:off x="5798982" y="3241"/>
            <a:ext cx="6399329" cy="6850952"/>
          </a:xfrm>
          <a:custGeom>
            <a:avLst/>
            <a:gdLst>
              <a:gd name="connsiteX0" fmla="*/ 0 w 5997632"/>
              <a:gd name="connsiteY0" fmla="*/ 0 h 6858000"/>
              <a:gd name="connsiteX1" fmla="*/ 5997632 w 5997632"/>
              <a:gd name="connsiteY1" fmla="*/ 0 h 6858000"/>
              <a:gd name="connsiteX2" fmla="*/ 5997632 w 5997632"/>
              <a:gd name="connsiteY2" fmla="*/ 6858000 h 6858000"/>
              <a:gd name="connsiteX3" fmla="*/ 3178693 w 599763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7632" h="6858000">
                <a:moveTo>
                  <a:pt x="0" y="0"/>
                </a:moveTo>
                <a:lnTo>
                  <a:pt x="5997632" y="0"/>
                </a:lnTo>
                <a:lnTo>
                  <a:pt x="5997632" y="6858000"/>
                </a:lnTo>
                <a:lnTo>
                  <a:pt x="3178693" y="6858000"/>
                </a:lnTo>
                <a:close/>
              </a:path>
            </a:pathLst>
          </a:cu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A55B3B4F-571A-4996-B9F5-C7B90D1D3C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1422" r="2266" b="1"/>
          <a:stretch/>
        </p:blipFill>
        <p:spPr>
          <a:xfrm>
            <a:off x="-121396" y="3242"/>
            <a:ext cx="9751997" cy="6857983"/>
          </a:xfrm>
          <a:custGeom>
            <a:avLst/>
            <a:gdLst>
              <a:gd name="connsiteX0" fmla="*/ 0 w 9141744"/>
              <a:gd name="connsiteY0" fmla="*/ 0 h 6863485"/>
              <a:gd name="connsiteX1" fmla="*/ 5963051 w 9141744"/>
              <a:gd name="connsiteY1" fmla="*/ 0 h 6863485"/>
              <a:gd name="connsiteX2" fmla="*/ 9141744 w 9141744"/>
              <a:gd name="connsiteY2" fmla="*/ 6863485 h 6863485"/>
              <a:gd name="connsiteX3" fmla="*/ 0 w 9141744"/>
              <a:gd name="connsiteY3" fmla="*/ 6863485 h 6863485"/>
              <a:gd name="connsiteX4" fmla="*/ 0 w 9141744"/>
              <a:gd name="connsiteY4" fmla="*/ 0 h 6863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1744" h="6863485">
                <a:moveTo>
                  <a:pt x="0" y="0"/>
                </a:moveTo>
                <a:lnTo>
                  <a:pt x="5963051" y="0"/>
                </a:lnTo>
                <a:lnTo>
                  <a:pt x="9141744" y="6863485"/>
                </a:lnTo>
                <a:lnTo>
                  <a:pt x="0" y="6863485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889386A1-D0CF-4ABA-8886-2A20679101B9}"/>
              </a:ext>
            </a:extLst>
          </p:cNvPr>
          <p:cNvSpPr/>
          <p:nvPr userDrawn="1"/>
        </p:nvSpPr>
        <p:spPr>
          <a:xfrm>
            <a:off x="-127706" y="-7031"/>
            <a:ext cx="12319706" cy="6861224"/>
          </a:xfrm>
          <a:prstGeom prst="rect">
            <a:avLst/>
          </a:prstGeom>
          <a:solidFill>
            <a:schemeClr val="accent4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tx1"/>
              </a:solidFill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2D51FA6-3D17-4430-9B07-932470E9DC37}"/>
              </a:ext>
            </a:extLst>
          </p:cNvPr>
          <p:cNvSpPr/>
          <p:nvPr userDrawn="1"/>
        </p:nvSpPr>
        <p:spPr>
          <a:xfrm>
            <a:off x="-127706" y="-14062"/>
            <a:ext cx="12326017" cy="518292"/>
          </a:xfrm>
          <a:prstGeom prst="rect">
            <a:avLst/>
          </a:prstGeom>
          <a:solidFill>
            <a:srgbClr val="D9D9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9124AAF2-4F6C-44A6-B4D9-B51DB7E9383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997" y="40965"/>
            <a:ext cx="12022643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0" name="Group 71">
            <a:extLst>
              <a:ext uri="{FF2B5EF4-FFF2-40B4-BE49-F238E27FC236}">
                <a16:creationId xmlns:a16="http://schemas.microsoft.com/office/drawing/2014/main" id="{9D3D401E-693F-41D4-B427-8D2F91245DA5}"/>
              </a:ext>
            </a:extLst>
          </p:cNvPr>
          <p:cNvGrpSpPr/>
          <p:nvPr userDrawn="1"/>
        </p:nvGrpSpPr>
        <p:grpSpPr>
          <a:xfrm>
            <a:off x="11434731" y="104568"/>
            <a:ext cx="618531" cy="165283"/>
            <a:chOff x="4797041" y="952089"/>
            <a:chExt cx="2281238" cy="609599"/>
          </a:xfrm>
        </p:grpSpPr>
        <p:sp>
          <p:nvSpPr>
            <p:cNvPr id="11" name="Freeform 538">
              <a:extLst>
                <a:ext uri="{FF2B5EF4-FFF2-40B4-BE49-F238E27FC236}">
                  <a16:creationId xmlns:a16="http://schemas.microsoft.com/office/drawing/2014/main" id="{0EBAFDA4-C897-4F0D-BA83-81B8676BA5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2" name="Freeform 539">
              <a:extLst>
                <a:ext uri="{FF2B5EF4-FFF2-40B4-BE49-F238E27FC236}">
                  <a16:creationId xmlns:a16="http://schemas.microsoft.com/office/drawing/2014/main" id="{C07ECFF7-820C-434D-BE74-C98B725484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3" name="Freeform 540">
              <a:extLst>
                <a:ext uri="{FF2B5EF4-FFF2-40B4-BE49-F238E27FC236}">
                  <a16:creationId xmlns:a16="http://schemas.microsoft.com/office/drawing/2014/main" id="{F5EE7E7A-4686-4FC9-B758-0CFA57760D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4" name="Freeform 541">
              <a:extLst>
                <a:ext uri="{FF2B5EF4-FFF2-40B4-BE49-F238E27FC236}">
                  <a16:creationId xmlns:a16="http://schemas.microsoft.com/office/drawing/2014/main" id="{A3D21C22-9F03-46FA-892E-8474DDADA9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5" name="Freeform 542">
              <a:extLst>
                <a:ext uri="{FF2B5EF4-FFF2-40B4-BE49-F238E27FC236}">
                  <a16:creationId xmlns:a16="http://schemas.microsoft.com/office/drawing/2014/main" id="{3EA79938-F397-4831-A828-E66353E682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6" name="Freeform 543">
              <a:extLst>
                <a:ext uri="{FF2B5EF4-FFF2-40B4-BE49-F238E27FC236}">
                  <a16:creationId xmlns:a16="http://schemas.microsoft.com/office/drawing/2014/main" id="{04C634E3-238D-4491-BACC-981FAD6CFA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7" name="Freeform 544">
              <a:extLst>
                <a:ext uri="{FF2B5EF4-FFF2-40B4-BE49-F238E27FC236}">
                  <a16:creationId xmlns:a16="http://schemas.microsoft.com/office/drawing/2014/main" id="{35659E5E-AB6B-414B-8657-05FF5CEB67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</p:spTree>
    <p:extLst>
      <p:ext uri="{BB962C8B-B14F-4D97-AF65-F5344CB8AC3E}">
        <p14:creationId xmlns:p14="http://schemas.microsoft.com/office/powerpoint/2010/main" val="2023359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111F63E0-C3ED-4626-A183-910710DDBB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4387" r="28987" b="1"/>
          <a:stretch/>
        </p:blipFill>
        <p:spPr>
          <a:xfrm>
            <a:off x="5798982" y="3241"/>
            <a:ext cx="6399329" cy="6850952"/>
          </a:xfrm>
          <a:custGeom>
            <a:avLst/>
            <a:gdLst>
              <a:gd name="connsiteX0" fmla="*/ 0 w 5997632"/>
              <a:gd name="connsiteY0" fmla="*/ 0 h 6858000"/>
              <a:gd name="connsiteX1" fmla="*/ 5997632 w 5997632"/>
              <a:gd name="connsiteY1" fmla="*/ 0 h 6858000"/>
              <a:gd name="connsiteX2" fmla="*/ 5997632 w 5997632"/>
              <a:gd name="connsiteY2" fmla="*/ 6858000 h 6858000"/>
              <a:gd name="connsiteX3" fmla="*/ 3178693 w 599763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7632" h="6858000">
                <a:moveTo>
                  <a:pt x="0" y="0"/>
                </a:moveTo>
                <a:lnTo>
                  <a:pt x="5997632" y="0"/>
                </a:lnTo>
                <a:lnTo>
                  <a:pt x="5997632" y="6858000"/>
                </a:lnTo>
                <a:lnTo>
                  <a:pt x="3178693" y="6858000"/>
                </a:lnTo>
                <a:close/>
              </a:path>
            </a:pathLst>
          </a:cu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A55B3B4F-571A-4996-B9F5-C7B90D1D3C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1422" r="2266" b="1"/>
          <a:stretch/>
        </p:blipFill>
        <p:spPr>
          <a:xfrm>
            <a:off x="-121396" y="3242"/>
            <a:ext cx="9751997" cy="6857983"/>
          </a:xfrm>
          <a:custGeom>
            <a:avLst/>
            <a:gdLst>
              <a:gd name="connsiteX0" fmla="*/ 0 w 9141744"/>
              <a:gd name="connsiteY0" fmla="*/ 0 h 6863485"/>
              <a:gd name="connsiteX1" fmla="*/ 5963051 w 9141744"/>
              <a:gd name="connsiteY1" fmla="*/ 0 h 6863485"/>
              <a:gd name="connsiteX2" fmla="*/ 9141744 w 9141744"/>
              <a:gd name="connsiteY2" fmla="*/ 6863485 h 6863485"/>
              <a:gd name="connsiteX3" fmla="*/ 0 w 9141744"/>
              <a:gd name="connsiteY3" fmla="*/ 6863485 h 6863485"/>
              <a:gd name="connsiteX4" fmla="*/ 0 w 9141744"/>
              <a:gd name="connsiteY4" fmla="*/ 0 h 6863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1744" h="6863485">
                <a:moveTo>
                  <a:pt x="0" y="0"/>
                </a:moveTo>
                <a:lnTo>
                  <a:pt x="5963051" y="0"/>
                </a:lnTo>
                <a:lnTo>
                  <a:pt x="9141744" y="6863485"/>
                </a:lnTo>
                <a:lnTo>
                  <a:pt x="0" y="6863485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889386A1-D0CF-4ABA-8886-2A20679101B9}"/>
              </a:ext>
            </a:extLst>
          </p:cNvPr>
          <p:cNvSpPr/>
          <p:nvPr userDrawn="1"/>
        </p:nvSpPr>
        <p:spPr>
          <a:xfrm>
            <a:off x="-127706" y="-7031"/>
            <a:ext cx="12319706" cy="6861224"/>
          </a:xfrm>
          <a:prstGeom prst="rect">
            <a:avLst/>
          </a:prstGeom>
          <a:solidFill>
            <a:schemeClr val="accent4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302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79" y="101900"/>
            <a:ext cx="11860664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7282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Group 71">
            <a:extLst>
              <a:ext uri="{FF2B5EF4-FFF2-40B4-BE49-F238E27FC236}">
                <a16:creationId xmlns:a16="http://schemas.microsoft.com/office/drawing/2014/main" id="{592B7228-18A9-4CDA-BD17-1637EFDE0308}"/>
              </a:ext>
            </a:extLst>
          </p:cNvPr>
          <p:cNvGrpSpPr/>
          <p:nvPr userDrawn="1"/>
        </p:nvGrpSpPr>
        <p:grpSpPr>
          <a:xfrm>
            <a:off x="11434731" y="104568"/>
            <a:ext cx="618531" cy="165283"/>
            <a:chOff x="4797041" y="952089"/>
            <a:chExt cx="2281238" cy="609599"/>
          </a:xfrm>
        </p:grpSpPr>
        <p:sp>
          <p:nvSpPr>
            <p:cNvPr id="88" name="Freeform 538">
              <a:extLst>
                <a:ext uri="{FF2B5EF4-FFF2-40B4-BE49-F238E27FC236}">
                  <a16:creationId xmlns:a16="http://schemas.microsoft.com/office/drawing/2014/main" id="{78CF8D1D-94C3-492D-8688-FAF9AB6B76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89" name="Freeform 539">
              <a:extLst>
                <a:ext uri="{FF2B5EF4-FFF2-40B4-BE49-F238E27FC236}">
                  <a16:creationId xmlns:a16="http://schemas.microsoft.com/office/drawing/2014/main" id="{65AFFAEB-041F-4E3E-94CF-3741B86188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90" name="Freeform 540">
              <a:extLst>
                <a:ext uri="{FF2B5EF4-FFF2-40B4-BE49-F238E27FC236}">
                  <a16:creationId xmlns:a16="http://schemas.microsoft.com/office/drawing/2014/main" id="{3A7B83BC-4FC3-4B5A-B384-31016B5CCF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91" name="Freeform 541">
              <a:extLst>
                <a:ext uri="{FF2B5EF4-FFF2-40B4-BE49-F238E27FC236}">
                  <a16:creationId xmlns:a16="http://schemas.microsoft.com/office/drawing/2014/main" id="{16D6E3CD-6508-4880-BD94-30341E267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92" name="Freeform 542">
              <a:extLst>
                <a:ext uri="{FF2B5EF4-FFF2-40B4-BE49-F238E27FC236}">
                  <a16:creationId xmlns:a16="http://schemas.microsoft.com/office/drawing/2014/main" id="{546102F7-9BE7-4CDD-820F-99D51CCCA7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93" name="Freeform 543">
              <a:extLst>
                <a:ext uri="{FF2B5EF4-FFF2-40B4-BE49-F238E27FC236}">
                  <a16:creationId xmlns:a16="http://schemas.microsoft.com/office/drawing/2014/main" id="{4F3CF309-1B7D-4BCD-A4A5-867B9FD208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94" name="Freeform 544">
              <a:extLst>
                <a:ext uri="{FF2B5EF4-FFF2-40B4-BE49-F238E27FC236}">
                  <a16:creationId xmlns:a16="http://schemas.microsoft.com/office/drawing/2014/main" id="{D1851DD3-7559-44B9-A6A8-3B6D1457FE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70C9D11-DC05-4B52-8459-44195AD87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15" y="104568"/>
            <a:ext cx="11968747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6" name="Rectángulo 85">
            <a:extLst>
              <a:ext uri="{FF2B5EF4-FFF2-40B4-BE49-F238E27FC236}">
                <a16:creationId xmlns:a16="http://schemas.microsoft.com/office/drawing/2014/main" id="{0C724A66-5B9D-496A-AF5D-2C265463ED62}"/>
              </a:ext>
            </a:extLst>
          </p:cNvPr>
          <p:cNvSpPr/>
          <p:nvPr userDrawn="1"/>
        </p:nvSpPr>
        <p:spPr>
          <a:xfrm>
            <a:off x="8357" y="6462748"/>
            <a:ext cx="9225526" cy="301295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AA97A3-C0E7-4D83-B8E9-2B604E020E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26" imgH="526" progId="TCLayout.ActiveDocument.1">
                  <p:embed/>
                </p:oleObj>
              </mc:Choice>
              <mc:Fallback>
                <p:oleObj name="Diapositiva de think-cell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AA97A3-C0E7-4D83-B8E9-2B604E020E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7EA385-3644-4906-9E5C-2B86AFAE0C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C6F14818-F759-4AB3-91F0-98128260F283}"/>
              </a:ext>
            </a:extLst>
          </p:cNvPr>
          <p:cNvSpPr/>
          <p:nvPr userDrawn="1"/>
        </p:nvSpPr>
        <p:spPr>
          <a:xfrm>
            <a:off x="10918491" y="6664728"/>
            <a:ext cx="760225" cy="194359"/>
          </a:xfrm>
          <a:prstGeom prst="rect">
            <a:avLst/>
          </a:prstGeom>
          <a:solidFill>
            <a:srgbClr val="FFB502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81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</a:rPr>
              <a:t>15% - 30%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96F7EEA-86E5-4D74-B920-69F9F195CA42}"/>
              </a:ext>
            </a:extLst>
          </p:cNvPr>
          <p:cNvSpPr/>
          <p:nvPr userDrawn="1"/>
        </p:nvSpPr>
        <p:spPr>
          <a:xfrm>
            <a:off x="11673665" y="6664728"/>
            <a:ext cx="518335" cy="194359"/>
          </a:xfrm>
          <a:prstGeom prst="rect">
            <a:avLst/>
          </a:prstGeom>
          <a:solidFill>
            <a:srgbClr val="FF00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81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</a:rPr>
              <a:t>&gt;30%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50D74AA-BC92-46FC-A70F-F748AF2E9B12}"/>
              </a:ext>
            </a:extLst>
          </p:cNvPr>
          <p:cNvSpPr txBox="1"/>
          <p:nvPr userDrawn="1"/>
        </p:nvSpPr>
        <p:spPr>
          <a:xfrm>
            <a:off x="8928078" y="6647120"/>
            <a:ext cx="1567414" cy="23775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45" b="1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/>
                <a:cs typeface="Arial" panose="020B0604020202020204" pitchFamily="34" charset="0"/>
              </a:rPr>
              <a:t>Desviación en avance:</a:t>
            </a:r>
            <a:endParaRPr kumimoji="0" lang="es-PE" sz="1440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083DBEF4-3158-4BC8-92E1-ADF1E10DD2E0}"/>
              </a:ext>
            </a:extLst>
          </p:cNvPr>
          <p:cNvSpPr/>
          <p:nvPr userDrawn="1"/>
        </p:nvSpPr>
        <p:spPr>
          <a:xfrm>
            <a:off x="10405206" y="6664728"/>
            <a:ext cx="518335" cy="194359"/>
          </a:xfrm>
          <a:prstGeom prst="rect">
            <a:avLst/>
          </a:prstGeom>
          <a:solidFill>
            <a:srgbClr val="70AD47">
              <a:lumMod val="7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81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</a:rPr>
              <a:t>&lt;15% 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1CE78E5E-8D98-4B4F-A6C5-973747C038F6}"/>
              </a:ext>
            </a:extLst>
          </p:cNvPr>
          <p:cNvGrpSpPr/>
          <p:nvPr userDrawn="1"/>
        </p:nvGrpSpPr>
        <p:grpSpPr>
          <a:xfrm>
            <a:off x="4128374" y="6608613"/>
            <a:ext cx="3895672" cy="230832"/>
            <a:chOff x="3795274" y="6563513"/>
            <a:chExt cx="4058499" cy="256533"/>
          </a:xfrm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5D794D64-F9F3-421B-BED5-7D4D97AFBA50}"/>
                </a:ext>
              </a:extLst>
            </p:cNvPr>
            <p:cNvSpPr/>
            <p:nvPr/>
          </p:nvSpPr>
          <p:spPr>
            <a:xfrm>
              <a:off x="6466274" y="6650623"/>
              <a:ext cx="324000" cy="72000"/>
            </a:xfrm>
            <a:prstGeom prst="rect">
              <a:avLst/>
            </a:prstGeom>
            <a:solidFill>
              <a:srgbClr val="323F4F">
                <a:lumMod val="40000"/>
                <a:lumOff val="6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227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26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endParaRPr>
            </a:p>
          </p:txBody>
        </p:sp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EE3EE22D-7623-4249-A736-F3BDB4E85957}"/>
                </a:ext>
              </a:extLst>
            </p:cNvPr>
            <p:cNvSpPr/>
            <p:nvPr/>
          </p:nvSpPr>
          <p:spPr>
            <a:xfrm>
              <a:off x="3795274" y="6650623"/>
              <a:ext cx="324000" cy="72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227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62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endParaRPr>
            </a:p>
          </p:txBody>
        </p:sp>
        <p:cxnSp>
          <p:nvCxnSpPr>
            <p:cNvPr id="12" name="Conector recto 11">
              <a:extLst>
                <a:ext uri="{FF2B5EF4-FFF2-40B4-BE49-F238E27FC236}">
                  <a16:creationId xmlns:a16="http://schemas.microsoft.com/office/drawing/2014/main" id="{F9896D79-F4E3-4FF2-BF53-D01EA15B540D}"/>
                </a:ext>
              </a:extLst>
            </p:cNvPr>
            <p:cNvCxnSpPr>
              <a:cxnSpLocks/>
            </p:cNvCxnSpPr>
            <p:nvPr/>
          </p:nvCxnSpPr>
          <p:spPr>
            <a:xfrm>
              <a:off x="4764455" y="6686623"/>
              <a:ext cx="324000" cy="0"/>
            </a:xfrm>
            <a:prstGeom prst="line">
              <a:avLst/>
            </a:prstGeom>
            <a:noFill/>
            <a:ln w="38100" cap="flat" cmpd="sng" algn="ctr">
              <a:solidFill>
                <a:srgbClr val="323F4F"/>
              </a:solidFill>
              <a:prstDash val="solid"/>
            </a:ln>
            <a:effectLst/>
          </p:spPr>
        </p:cxn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D7093C24-19F1-4EC9-BBF6-1F68736B65CF}"/>
                </a:ext>
              </a:extLst>
            </p:cNvPr>
            <p:cNvSpPr txBox="1"/>
            <p:nvPr/>
          </p:nvSpPr>
          <p:spPr>
            <a:xfrm>
              <a:off x="4093045" y="6563513"/>
              <a:ext cx="756000" cy="256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8227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900" b="0" i="0" u="none" strike="noStrike" kern="0" cap="none" spc="0" normalizeH="0" baseline="0" noProof="0" err="1">
                  <a:ln>
                    <a:noFill/>
                  </a:ln>
                  <a:solidFill>
                    <a:srgbClr val="323F4F"/>
                  </a:solidFill>
                  <a:effectLst/>
                  <a:uLnTx/>
                  <a:uFillTx/>
                  <a:latin typeface="Flexo" pitchFamily="50" charset="0"/>
                  <a:cs typeface="Arial" panose="020B0604020202020204" pitchFamily="34" charset="0"/>
                </a:rPr>
                <a:t>Baseline</a:t>
              </a:r>
              <a:endParaRPr kumimoji="0" lang="es-PE" sz="945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endParaRP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52052ECE-2AA7-41AA-91AB-3B6123C720AE}"/>
                </a:ext>
              </a:extLst>
            </p:cNvPr>
            <p:cNvSpPr txBox="1"/>
            <p:nvPr/>
          </p:nvSpPr>
          <p:spPr>
            <a:xfrm>
              <a:off x="6773773" y="6563513"/>
              <a:ext cx="1080000" cy="256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8227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900" b="0" i="0" u="none" strike="noStrike" kern="0" cap="none" spc="0" normalizeH="0" baseline="0" noProof="0">
                  <a:ln>
                    <a:noFill/>
                  </a:ln>
                  <a:solidFill>
                    <a:srgbClr val="323F4F"/>
                  </a:solidFill>
                  <a:effectLst/>
                  <a:uLnTx/>
                  <a:uFillTx/>
                  <a:latin typeface="Flexo" pitchFamily="50" charset="0"/>
                  <a:cs typeface="Arial" panose="020B0604020202020204" pitchFamily="34" charset="0"/>
                </a:rPr>
                <a:t>% Avance Real</a:t>
              </a: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233CB6B9-2F2A-413F-A452-1BC03CF7355C}"/>
                </a:ext>
              </a:extLst>
            </p:cNvPr>
            <p:cNvSpPr txBox="1"/>
            <p:nvPr/>
          </p:nvSpPr>
          <p:spPr>
            <a:xfrm>
              <a:off x="5062226" y="6563513"/>
              <a:ext cx="1440000" cy="256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8227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900" b="0" i="0" u="none" strike="noStrike" kern="0" cap="none" spc="0" normalizeH="0" baseline="0" noProof="0">
                  <a:ln>
                    <a:noFill/>
                  </a:ln>
                  <a:solidFill>
                    <a:srgbClr val="323F4F"/>
                  </a:solidFill>
                  <a:effectLst/>
                  <a:uLnTx/>
                  <a:uFillTx/>
                  <a:latin typeface="Flexo" pitchFamily="50" charset="0"/>
                  <a:cs typeface="Arial" panose="020B0604020202020204" pitchFamily="34" charset="0"/>
                </a:rPr>
                <a:t>% Avance Planificado</a:t>
              </a:r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6670875-01A7-477C-B8A2-D97414C92967}"/>
              </a:ext>
            </a:extLst>
          </p:cNvPr>
          <p:cNvSpPr txBox="1"/>
          <p:nvPr userDrawn="1"/>
        </p:nvSpPr>
        <p:spPr>
          <a:xfrm>
            <a:off x="349086" y="6608616"/>
            <a:ext cx="4513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RUN</a:t>
            </a:r>
            <a:endParaRPr kumimoji="0" lang="es-PE" sz="945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sp>
        <p:nvSpPr>
          <p:cNvPr id="17" name="Forma libre 4344" descr="Icono de llave inglesa. ">
            <a:extLst>
              <a:ext uri="{FF2B5EF4-FFF2-40B4-BE49-F238E27FC236}">
                <a16:creationId xmlns:a16="http://schemas.microsoft.com/office/drawing/2014/main" id="{C147D482-1B13-438F-97CB-143CDC90822C}"/>
              </a:ext>
            </a:extLst>
          </p:cNvPr>
          <p:cNvSpPr>
            <a:spLocks/>
          </p:cNvSpPr>
          <p:nvPr userDrawn="1"/>
        </p:nvSpPr>
        <p:spPr bwMode="auto">
          <a:xfrm>
            <a:off x="264161" y="6654605"/>
            <a:ext cx="138223" cy="129573"/>
          </a:xfrm>
          <a:custGeom>
            <a:avLst/>
            <a:gdLst>
              <a:gd name="T0" fmla="*/ 853 w 886"/>
              <a:gd name="T1" fmla="*/ 137 h 886"/>
              <a:gd name="T2" fmla="*/ 842 w 886"/>
              <a:gd name="T3" fmla="*/ 134 h 886"/>
              <a:gd name="T4" fmla="*/ 833 w 886"/>
              <a:gd name="T5" fmla="*/ 138 h 886"/>
              <a:gd name="T6" fmla="*/ 646 w 886"/>
              <a:gd name="T7" fmla="*/ 172 h 886"/>
              <a:gd name="T8" fmla="*/ 754 w 886"/>
              <a:gd name="T9" fmla="*/ 46 h 886"/>
              <a:gd name="T10" fmla="*/ 754 w 886"/>
              <a:gd name="T11" fmla="*/ 37 h 886"/>
              <a:gd name="T12" fmla="*/ 747 w 886"/>
              <a:gd name="T13" fmla="*/ 29 h 886"/>
              <a:gd name="T14" fmla="*/ 704 w 886"/>
              <a:gd name="T15" fmla="*/ 12 h 886"/>
              <a:gd name="T16" fmla="*/ 659 w 886"/>
              <a:gd name="T17" fmla="*/ 2 h 886"/>
              <a:gd name="T18" fmla="*/ 615 w 886"/>
              <a:gd name="T19" fmla="*/ 0 h 886"/>
              <a:gd name="T20" fmla="*/ 577 w 886"/>
              <a:gd name="T21" fmla="*/ 6 h 886"/>
              <a:gd name="T22" fmla="*/ 539 w 886"/>
              <a:gd name="T23" fmla="*/ 15 h 886"/>
              <a:gd name="T24" fmla="*/ 505 w 886"/>
              <a:gd name="T25" fmla="*/ 31 h 886"/>
              <a:gd name="T26" fmla="*/ 473 w 886"/>
              <a:gd name="T27" fmla="*/ 52 h 886"/>
              <a:gd name="T28" fmla="*/ 443 w 886"/>
              <a:gd name="T29" fmla="*/ 76 h 886"/>
              <a:gd name="T30" fmla="*/ 405 w 886"/>
              <a:gd name="T31" fmla="*/ 124 h 886"/>
              <a:gd name="T32" fmla="*/ 380 w 886"/>
              <a:gd name="T33" fmla="*/ 178 h 886"/>
              <a:gd name="T34" fmla="*/ 368 w 886"/>
              <a:gd name="T35" fmla="*/ 235 h 886"/>
              <a:gd name="T36" fmla="*/ 368 w 886"/>
              <a:gd name="T37" fmla="*/ 293 h 886"/>
              <a:gd name="T38" fmla="*/ 382 w 886"/>
              <a:gd name="T39" fmla="*/ 351 h 886"/>
              <a:gd name="T40" fmla="*/ 21 w 886"/>
              <a:gd name="T41" fmla="*/ 738 h 886"/>
              <a:gd name="T42" fmla="*/ 7 w 886"/>
              <a:gd name="T43" fmla="*/ 762 h 886"/>
              <a:gd name="T44" fmla="*/ 1 w 886"/>
              <a:gd name="T45" fmla="*/ 787 h 886"/>
              <a:gd name="T46" fmla="*/ 2 w 886"/>
              <a:gd name="T47" fmla="*/ 813 h 886"/>
              <a:gd name="T48" fmla="*/ 11 w 886"/>
              <a:gd name="T49" fmla="*/ 838 h 886"/>
              <a:gd name="T50" fmla="*/ 27 w 886"/>
              <a:gd name="T51" fmla="*/ 860 h 886"/>
              <a:gd name="T52" fmla="*/ 48 w 886"/>
              <a:gd name="T53" fmla="*/ 875 h 886"/>
              <a:gd name="T54" fmla="*/ 73 w 886"/>
              <a:gd name="T55" fmla="*/ 884 h 886"/>
              <a:gd name="T56" fmla="*/ 99 w 886"/>
              <a:gd name="T57" fmla="*/ 885 h 886"/>
              <a:gd name="T58" fmla="*/ 125 w 886"/>
              <a:gd name="T59" fmla="*/ 879 h 886"/>
              <a:gd name="T60" fmla="*/ 148 w 886"/>
              <a:gd name="T61" fmla="*/ 866 h 886"/>
              <a:gd name="T62" fmla="*/ 530 w 886"/>
              <a:gd name="T63" fmla="*/ 502 h 886"/>
              <a:gd name="T64" fmla="*/ 570 w 886"/>
              <a:gd name="T65" fmla="*/ 515 h 886"/>
              <a:gd name="T66" fmla="*/ 612 w 886"/>
              <a:gd name="T67" fmla="*/ 520 h 886"/>
              <a:gd name="T68" fmla="*/ 626 w 886"/>
              <a:gd name="T69" fmla="*/ 520 h 886"/>
              <a:gd name="T70" fmla="*/ 664 w 886"/>
              <a:gd name="T71" fmla="*/ 518 h 886"/>
              <a:gd name="T72" fmla="*/ 702 w 886"/>
              <a:gd name="T73" fmla="*/ 509 h 886"/>
              <a:gd name="T74" fmla="*/ 737 w 886"/>
              <a:gd name="T75" fmla="*/ 496 h 886"/>
              <a:gd name="T76" fmla="*/ 769 w 886"/>
              <a:gd name="T77" fmla="*/ 477 h 886"/>
              <a:gd name="T78" fmla="*/ 800 w 886"/>
              <a:gd name="T79" fmla="*/ 454 h 886"/>
              <a:gd name="T80" fmla="*/ 837 w 886"/>
              <a:gd name="T81" fmla="*/ 413 h 886"/>
              <a:gd name="T82" fmla="*/ 867 w 886"/>
              <a:gd name="T83" fmla="*/ 360 h 886"/>
              <a:gd name="T84" fmla="*/ 883 w 886"/>
              <a:gd name="T85" fmla="*/ 301 h 886"/>
              <a:gd name="T86" fmla="*/ 885 w 886"/>
              <a:gd name="T87" fmla="*/ 241 h 886"/>
              <a:gd name="T88" fmla="*/ 873 w 886"/>
              <a:gd name="T89" fmla="*/ 181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86" h="886">
                <a:moveTo>
                  <a:pt x="857" y="143"/>
                </a:moveTo>
                <a:lnTo>
                  <a:pt x="855" y="139"/>
                </a:lnTo>
                <a:lnTo>
                  <a:pt x="853" y="137"/>
                </a:lnTo>
                <a:lnTo>
                  <a:pt x="849" y="135"/>
                </a:lnTo>
                <a:lnTo>
                  <a:pt x="846" y="133"/>
                </a:lnTo>
                <a:lnTo>
                  <a:pt x="842" y="134"/>
                </a:lnTo>
                <a:lnTo>
                  <a:pt x="839" y="135"/>
                </a:lnTo>
                <a:lnTo>
                  <a:pt x="836" y="136"/>
                </a:lnTo>
                <a:lnTo>
                  <a:pt x="833" y="138"/>
                </a:lnTo>
                <a:lnTo>
                  <a:pt x="712" y="259"/>
                </a:lnTo>
                <a:lnTo>
                  <a:pt x="646" y="259"/>
                </a:lnTo>
                <a:lnTo>
                  <a:pt x="646" y="172"/>
                </a:lnTo>
                <a:lnTo>
                  <a:pt x="751" y="53"/>
                </a:lnTo>
                <a:lnTo>
                  <a:pt x="753" y="49"/>
                </a:lnTo>
                <a:lnTo>
                  <a:pt x="754" y="46"/>
                </a:lnTo>
                <a:lnTo>
                  <a:pt x="755" y="43"/>
                </a:lnTo>
                <a:lnTo>
                  <a:pt x="755" y="39"/>
                </a:lnTo>
                <a:lnTo>
                  <a:pt x="754" y="37"/>
                </a:lnTo>
                <a:lnTo>
                  <a:pt x="752" y="33"/>
                </a:lnTo>
                <a:lnTo>
                  <a:pt x="750" y="31"/>
                </a:lnTo>
                <a:lnTo>
                  <a:pt x="747" y="29"/>
                </a:lnTo>
                <a:lnTo>
                  <a:pt x="733" y="23"/>
                </a:lnTo>
                <a:lnTo>
                  <a:pt x="719" y="16"/>
                </a:lnTo>
                <a:lnTo>
                  <a:pt x="704" y="12"/>
                </a:lnTo>
                <a:lnTo>
                  <a:pt x="689" y="8"/>
                </a:lnTo>
                <a:lnTo>
                  <a:pt x="674" y="5"/>
                </a:lnTo>
                <a:lnTo>
                  <a:pt x="659" y="2"/>
                </a:lnTo>
                <a:lnTo>
                  <a:pt x="643" y="1"/>
                </a:lnTo>
                <a:lnTo>
                  <a:pt x="628" y="0"/>
                </a:lnTo>
                <a:lnTo>
                  <a:pt x="615" y="0"/>
                </a:lnTo>
                <a:lnTo>
                  <a:pt x="602" y="1"/>
                </a:lnTo>
                <a:lnTo>
                  <a:pt x="589" y="3"/>
                </a:lnTo>
                <a:lnTo>
                  <a:pt x="577" y="6"/>
                </a:lnTo>
                <a:lnTo>
                  <a:pt x="564" y="8"/>
                </a:lnTo>
                <a:lnTo>
                  <a:pt x="552" y="11"/>
                </a:lnTo>
                <a:lnTo>
                  <a:pt x="539" y="15"/>
                </a:lnTo>
                <a:lnTo>
                  <a:pt x="527" y="19"/>
                </a:lnTo>
                <a:lnTo>
                  <a:pt x="516" y="25"/>
                </a:lnTo>
                <a:lnTo>
                  <a:pt x="505" y="31"/>
                </a:lnTo>
                <a:lnTo>
                  <a:pt x="493" y="37"/>
                </a:lnTo>
                <a:lnTo>
                  <a:pt x="482" y="44"/>
                </a:lnTo>
                <a:lnTo>
                  <a:pt x="473" y="52"/>
                </a:lnTo>
                <a:lnTo>
                  <a:pt x="462" y="59"/>
                </a:lnTo>
                <a:lnTo>
                  <a:pt x="452" y="68"/>
                </a:lnTo>
                <a:lnTo>
                  <a:pt x="443" y="76"/>
                </a:lnTo>
                <a:lnTo>
                  <a:pt x="429" y="91"/>
                </a:lnTo>
                <a:lnTo>
                  <a:pt x="416" y="107"/>
                </a:lnTo>
                <a:lnTo>
                  <a:pt x="405" y="124"/>
                </a:lnTo>
                <a:lnTo>
                  <a:pt x="396" y="141"/>
                </a:lnTo>
                <a:lnTo>
                  <a:pt x="387" y="160"/>
                </a:lnTo>
                <a:lnTo>
                  <a:pt x="380" y="178"/>
                </a:lnTo>
                <a:lnTo>
                  <a:pt x="374" y="196"/>
                </a:lnTo>
                <a:lnTo>
                  <a:pt x="370" y="215"/>
                </a:lnTo>
                <a:lnTo>
                  <a:pt x="368" y="235"/>
                </a:lnTo>
                <a:lnTo>
                  <a:pt x="366" y="254"/>
                </a:lnTo>
                <a:lnTo>
                  <a:pt x="367" y="274"/>
                </a:lnTo>
                <a:lnTo>
                  <a:pt x="368" y="293"/>
                </a:lnTo>
                <a:lnTo>
                  <a:pt x="371" y="313"/>
                </a:lnTo>
                <a:lnTo>
                  <a:pt x="376" y="332"/>
                </a:lnTo>
                <a:lnTo>
                  <a:pt x="382" y="351"/>
                </a:lnTo>
                <a:lnTo>
                  <a:pt x="390" y="369"/>
                </a:lnTo>
                <a:lnTo>
                  <a:pt x="27" y="732"/>
                </a:lnTo>
                <a:lnTo>
                  <a:pt x="21" y="738"/>
                </a:lnTo>
                <a:lnTo>
                  <a:pt x="16" y="746"/>
                </a:lnTo>
                <a:lnTo>
                  <a:pt x="11" y="753"/>
                </a:lnTo>
                <a:lnTo>
                  <a:pt x="7" y="762"/>
                </a:lnTo>
                <a:lnTo>
                  <a:pt x="4" y="769"/>
                </a:lnTo>
                <a:lnTo>
                  <a:pt x="2" y="778"/>
                </a:lnTo>
                <a:lnTo>
                  <a:pt x="1" y="787"/>
                </a:lnTo>
                <a:lnTo>
                  <a:pt x="0" y="796"/>
                </a:lnTo>
                <a:lnTo>
                  <a:pt x="1" y="805"/>
                </a:lnTo>
                <a:lnTo>
                  <a:pt x="2" y="813"/>
                </a:lnTo>
                <a:lnTo>
                  <a:pt x="4" y="822"/>
                </a:lnTo>
                <a:lnTo>
                  <a:pt x="7" y="830"/>
                </a:lnTo>
                <a:lnTo>
                  <a:pt x="11" y="838"/>
                </a:lnTo>
                <a:lnTo>
                  <a:pt x="15" y="845"/>
                </a:lnTo>
                <a:lnTo>
                  <a:pt x="20" y="853"/>
                </a:lnTo>
                <a:lnTo>
                  <a:pt x="27" y="860"/>
                </a:lnTo>
                <a:lnTo>
                  <a:pt x="33" y="866"/>
                </a:lnTo>
                <a:lnTo>
                  <a:pt x="41" y="871"/>
                </a:lnTo>
                <a:lnTo>
                  <a:pt x="48" y="875"/>
                </a:lnTo>
                <a:lnTo>
                  <a:pt x="55" y="879"/>
                </a:lnTo>
                <a:lnTo>
                  <a:pt x="64" y="882"/>
                </a:lnTo>
                <a:lnTo>
                  <a:pt x="73" y="884"/>
                </a:lnTo>
                <a:lnTo>
                  <a:pt x="81" y="885"/>
                </a:lnTo>
                <a:lnTo>
                  <a:pt x="91" y="886"/>
                </a:lnTo>
                <a:lnTo>
                  <a:pt x="99" y="885"/>
                </a:lnTo>
                <a:lnTo>
                  <a:pt x="108" y="884"/>
                </a:lnTo>
                <a:lnTo>
                  <a:pt x="116" y="882"/>
                </a:lnTo>
                <a:lnTo>
                  <a:pt x="125" y="879"/>
                </a:lnTo>
                <a:lnTo>
                  <a:pt x="133" y="875"/>
                </a:lnTo>
                <a:lnTo>
                  <a:pt x="140" y="871"/>
                </a:lnTo>
                <a:lnTo>
                  <a:pt x="148" y="866"/>
                </a:lnTo>
                <a:lnTo>
                  <a:pt x="154" y="860"/>
                </a:lnTo>
                <a:lnTo>
                  <a:pt x="517" y="497"/>
                </a:lnTo>
                <a:lnTo>
                  <a:pt x="530" y="502"/>
                </a:lnTo>
                <a:lnTo>
                  <a:pt x="543" y="507"/>
                </a:lnTo>
                <a:lnTo>
                  <a:pt x="556" y="512"/>
                </a:lnTo>
                <a:lnTo>
                  <a:pt x="570" y="515"/>
                </a:lnTo>
                <a:lnTo>
                  <a:pt x="584" y="517"/>
                </a:lnTo>
                <a:lnTo>
                  <a:pt x="598" y="519"/>
                </a:lnTo>
                <a:lnTo>
                  <a:pt x="612" y="520"/>
                </a:lnTo>
                <a:lnTo>
                  <a:pt x="626" y="520"/>
                </a:lnTo>
                <a:lnTo>
                  <a:pt x="626" y="520"/>
                </a:lnTo>
                <a:lnTo>
                  <a:pt x="626" y="520"/>
                </a:lnTo>
                <a:lnTo>
                  <a:pt x="639" y="520"/>
                </a:lnTo>
                <a:lnTo>
                  <a:pt x="651" y="519"/>
                </a:lnTo>
                <a:lnTo>
                  <a:pt x="664" y="518"/>
                </a:lnTo>
                <a:lnTo>
                  <a:pt x="677" y="516"/>
                </a:lnTo>
                <a:lnTo>
                  <a:pt x="689" y="513"/>
                </a:lnTo>
                <a:lnTo>
                  <a:pt x="702" y="509"/>
                </a:lnTo>
                <a:lnTo>
                  <a:pt x="714" y="505"/>
                </a:lnTo>
                <a:lnTo>
                  <a:pt x="725" y="501"/>
                </a:lnTo>
                <a:lnTo>
                  <a:pt x="737" y="496"/>
                </a:lnTo>
                <a:lnTo>
                  <a:pt x="748" y="490"/>
                </a:lnTo>
                <a:lnTo>
                  <a:pt x="758" y="484"/>
                </a:lnTo>
                <a:lnTo>
                  <a:pt x="769" y="477"/>
                </a:lnTo>
                <a:lnTo>
                  <a:pt x="780" y="470"/>
                </a:lnTo>
                <a:lnTo>
                  <a:pt x="791" y="462"/>
                </a:lnTo>
                <a:lnTo>
                  <a:pt x="800" y="454"/>
                </a:lnTo>
                <a:lnTo>
                  <a:pt x="810" y="444"/>
                </a:lnTo>
                <a:lnTo>
                  <a:pt x="824" y="429"/>
                </a:lnTo>
                <a:lnTo>
                  <a:pt x="837" y="413"/>
                </a:lnTo>
                <a:lnTo>
                  <a:pt x="848" y="396"/>
                </a:lnTo>
                <a:lnTo>
                  <a:pt x="858" y="378"/>
                </a:lnTo>
                <a:lnTo>
                  <a:pt x="867" y="360"/>
                </a:lnTo>
                <a:lnTo>
                  <a:pt x="873" y="340"/>
                </a:lnTo>
                <a:lnTo>
                  <a:pt x="878" y="321"/>
                </a:lnTo>
                <a:lnTo>
                  <a:pt x="883" y="301"/>
                </a:lnTo>
                <a:lnTo>
                  <a:pt x="885" y="282"/>
                </a:lnTo>
                <a:lnTo>
                  <a:pt x="886" y="261"/>
                </a:lnTo>
                <a:lnTo>
                  <a:pt x="885" y="241"/>
                </a:lnTo>
                <a:lnTo>
                  <a:pt x="883" y="221"/>
                </a:lnTo>
                <a:lnTo>
                  <a:pt x="878" y="200"/>
                </a:lnTo>
                <a:lnTo>
                  <a:pt x="873" y="181"/>
                </a:lnTo>
                <a:lnTo>
                  <a:pt x="865" y="162"/>
                </a:lnTo>
                <a:lnTo>
                  <a:pt x="857" y="14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2279" tIns="41139" rIns="82279" bIns="41139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s-ES" sz="1620"/>
          </a:p>
        </p:txBody>
      </p:sp>
      <p:grpSp>
        <p:nvGrpSpPr>
          <p:cNvPr id="18" name="Grupo 17" descr="Icono de dinero. ">
            <a:extLst>
              <a:ext uri="{FF2B5EF4-FFF2-40B4-BE49-F238E27FC236}">
                <a16:creationId xmlns:a16="http://schemas.microsoft.com/office/drawing/2014/main" id="{67A8F926-F9D7-4E18-A803-3A44DCCD0F0B}"/>
              </a:ext>
            </a:extLst>
          </p:cNvPr>
          <p:cNvGrpSpPr/>
          <p:nvPr userDrawn="1"/>
        </p:nvGrpSpPr>
        <p:grpSpPr>
          <a:xfrm>
            <a:off x="776386" y="6638409"/>
            <a:ext cx="172778" cy="161966"/>
            <a:chOff x="3746500" y="1344613"/>
            <a:chExt cx="285750" cy="287338"/>
          </a:xfrm>
          <a:solidFill>
            <a:schemeClr val="tx1"/>
          </a:solidFill>
        </p:grpSpPr>
        <p:sp>
          <p:nvSpPr>
            <p:cNvPr id="19" name="Forma libre 497">
              <a:extLst>
                <a:ext uri="{FF2B5EF4-FFF2-40B4-BE49-F238E27FC236}">
                  <a16:creationId xmlns:a16="http://schemas.microsoft.com/office/drawing/2014/main" id="{39CECDB4-C9BB-4BA2-946B-BBA190804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0" name="Forma libre 498">
              <a:extLst>
                <a:ext uri="{FF2B5EF4-FFF2-40B4-BE49-F238E27FC236}">
                  <a16:creationId xmlns:a16="http://schemas.microsoft.com/office/drawing/2014/main" id="{5EF4D50A-9689-44A2-9415-007A360E09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1" name="Forma libre 499">
              <a:extLst>
                <a:ext uri="{FF2B5EF4-FFF2-40B4-BE49-F238E27FC236}">
                  <a16:creationId xmlns:a16="http://schemas.microsoft.com/office/drawing/2014/main" id="{C9F1061E-8662-407B-A275-230600AED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2" name="Forma libre 500">
              <a:extLst>
                <a:ext uri="{FF2B5EF4-FFF2-40B4-BE49-F238E27FC236}">
                  <a16:creationId xmlns:a16="http://schemas.microsoft.com/office/drawing/2014/main" id="{FF3A92FB-1776-4333-811C-212BE43F9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3" name="Forma libre 501">
              <a:extLst>
                <a:ext uri="{FF2B5EF4-FFF2-40B4-BE49-F238E27FC236}">
                  <a16:creationId xmlns:a16="http://schemas.microsoft.com/office/drawing/2014/main" id="{242E2672-2BA5-4066-8BEA-4473685A0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4" name="Forma libre 502">
              <a:extLst>
                <a:ext uri="{FF2B5EF4-FFF2-40B4-BE49-F238E27FC236}">
                  <a16:creationId xmlns:a16="http://schemas.microsoft.com/office/drawing/2014/main" id="{24A45F20-20AA-4CEA-AC55-638470E84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5" name="Forma libre 503">
              <a:extLst>
                <a:ext uri="{FF2B5EF4-FFF2-40B4-BE49-F238E27FC236}">
                  <a16:creationId xmlns:a16="http://schemas.microsoft.com/office/drawing/2014/main" id="{E89E1A5C-735D-4CC3-BF59-A8A0A127D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26" name="Forma libre 504">
              <a:extLst>
                <a:ext uri="{FF2B5EF4-FFF2-40B4-BE49-F238E27FC236}">
                  <a16:creationId xmlns:a16="http://schemas.microsoft.com/office/drawing/2014/main" id="{E72C3793-6D75-4C9D-84A1-C1E42B1A5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</p:grpSp>
      <p:sp>
        <p:nvSpPr>
          <p:cNvPr id="27" name="CuadroTexto 26">
            <a:extLst>
              <a:ext uri="{FF2B5EF4-FFF2-40B4-BE49-F238E27FC236}">
                <a16:creationId xmlns:a16="http://schemas.microsoft.com/office/drawing/2014/main" id="{D5D3DD25-918E-4167-B803-F18814CC9672}"/>
              </a:ext>
            </a:extLst>
          </p:cNvPr>
          <p:cNvSpPr txBox="1"/>
          <p:nvPr userDrawn="1"/>
        </p:nvSpPr>
        <p:spPr>
          <a:xfrm>
            <a:off x="895866" y="6608616"/>
            <a:ext cx="5774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GROW</a:t>
            </a:r>
            <a:endParaRPr kumimoji="0" lang="es-PE" sz="945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8A853C2F-4E49-43AC-A5AD-0E7B56385787}"/>
              </a:ext>
            </a:extLst>
          </p:cNvPr>
          <p:cNvSpPr txBox="1"/>
          <p:nvPr userDrawn="1"/>
        </p:nvSpPr>
        <p:spPr>
          <a:xfrm>
            <a:off x="1527842" y="6608616"/>
            <a:ext cx="8984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PE" sz="900" kern="0">
                <a:solidFill>
                  <a:srgbClr val="323F4F"/>
                </a:solidFill>
                <a:latin typeface="Flexo" pitchFamily="50" charset="0"/>
                <a:cs typeface="Arial" panose="020B0604020202020204" pitchFamily="34" charset="0"/>
              </a:rPr>
              <a:t>TRANSFORM</a:t>
            </a:r>
            <a:endParaRPr kumimoji="0" lang="es-PE" sz="945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grpSp>
        <p:nvGrpSpPr>
          <p:cNvPr id="29" name="Grupo 28" descr="Icono de cajas. ">
            <a:extLst>
              <a:ext uri="{FF2B5EF4-FFF2-40B4-BE49-F238E27FC236}">
                <a16:creationId xmlns:a16="http://schemas.microsoft.com/office/drawing/2014/main" id="{1E6C36D9-BEB2-4684-BFDC-31A1CD145A77}"/>
              </a:ext>
            </a:extLst>
          </p:cNvPr>
          <p:cNvGrpSpPr/>
          <p:nvPr userDrawn="1"/>
        </p:nvGrpSpPr>
        <p:grpSpPr>
          <a:xfrm>
            <a:off x="1414211" y="6638409"/>
            <a:ext cx="172778" cy="161966"/>
            <a:chOff x="5465763" y="3068638"/>
            <a:chExt cx="287337" cy="285750"/>
          </a:xfrm>
          <a:solidFill>
            <a:schemeClr val="tx1"/>
          </a:solidFill>
        </p:grpSpPr>
        <p:sp>
          <p:nvSpPr>
            <p:cNvPr id="30" name="Forma libre 617">
              <a:extLst>
                <a:ext uri="{FF2B5EF4-FFF2-40B4-BE49-F238E27FC236}">
                  <a16:creationId xmlns:a16="http://schemas.microsoft.com/office/drawing/2014/main" id="{3ED4A7A2-3168-4050-88DB-4D7697991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188" y="3068638"/>
              <a:ext cx="119063" cy="38100"/>
            </a:xfrm>
            <a:custGeom>
              <a:avLst/>
              <a:gdLst>
                <a:gd name="T0" fmla="*/ 375 w 375"/>
                <a:gd name="T1" fmla="*/ 62 h 120"/>
                <a:gd name="T2" fmla="*/ 374 w 375"/>
                <a:gd name="T3" fmla="*/ 62 h 120"/>
                <a:gd name="T4" fmla="*/ 373 w 375"/>
                <a:gd name="T5" fmla="*/ 61 h 120"/>
                <a:gd name="T6" fmla="*/ 193 w 375"/>
                <a:gd name="T7" fmla="*/ 1 h 120"/>
                <a:gd name="T8" fmla="*/ 188 w 375"/>
                <a:gd name="T9" fmla="*/ 0 h 120"/>
                <a:gd name="T10" fmla="*/ 183 w 375"/>
                <a:gd name="T11" fmla="*/ 1 h 120"/>
                <a:gd name="T12" fmla="*/ 2 w 375"/>
                <a:gd name="T13" fmla="*/ 61 h 120"/>
                <a:gd name="T14" fmla="*/ 1 w 375"/>
                <a:gd name="T15" fmla="*/ 62 h 120"/>
                <a:gd name="T16" fmla="*/ 0 w 375"/>
                <a:gd name="T17" fmla="*/ 62 h 120"/>
                <a:gd name="T18" fmla="*/ 188 w 375"/>
                <a:gd name="T19" fmla="*/ 120 h 120"/>
                <a:gd name="T20" fmla="*/ 375 w 375"/>
                <a:gd name="T21" fmla="*/ 6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" h="120">
                  <a:moveTo>
                    <a:pt x="375" y="62"/>
                  </a:moveTo>
                  <a:lnTo>
                    <a:pt x="374" y="62"/>
                  </a:lnTo>
                  <a:lnTo>
                    <a:pt x="373" y="61"/>
                  </a:lnTo>
                  <a:lnTo>
                    <a:pt x="193" y="1"/>
                  </a:lnTo>
                  <a:lnTo>
                    <a:pt x="188" y="0"/>
                  </a:lnTo>
                  <a:lnTo>
                    <a:pt x="183" y="1"/>
                  </a:lnTo>
                  <a:lnTo>
                    <a:pt x="2" y="61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188" y="120"/>
                  </a:lnTo>
                  <a:lnTo>
                    <a:pt x="375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1" name="Forma libre 618">
              <a:extLst>
                <a:ext uri="{FF2B5EF4-FFF2-40B4-BE49-F238E27FC236}">
                  <a16:creationId xmlns:a16="http://schemas.microsoft.com/office/drawing/2014/main" id="{D8E13285-DDA0-48D2-8592-5C15DB38A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9275" y="3097213"/>
              <a:ext cx="57150" cy="93663"/>
            </a:xfrm>
            <a:custGeom>
              <a:avLst/>
              <a:gdLst>
                <a:gd name="T0" fmla="*/ 181 w 181"/>
                <a:gd name="T1" fmla="*/ 210 h 295"/>
                <a:gd name="T2" fmla="*/ 181 w 181"/>
                <a:gd name="T3" fmla="*/ 0 h 295"/>
                <a:gd name="T4" fmla="*/ 0 w 181"/>
                <a:gd name="T5" fmla="*/ 56 h 295"/>
                <a:gd name="T6" fmla="*/ 0 w 181"/>
                <a:gd name="T7" fmla="*/ 295 h 295"/>
                <a:gd name="T8" fmla="*/ 171 w 181"/>
                <a:gd name="T9" fmla="*/ 224 h 295"/>
                <a:gd name="T10" fmla="*/ 174 w 181"/>
                <a:gd name="T11" fmla="*/ 222 h 295"/>
                <a:gd name="T12" fmla="*/ 178 w 181"/>
                <a:gd name="T13" fmla="*/ 219 h 295"/>
                <a:gd name="T14" fmla="*/ 180 w 181"/>
                <a:gd name="T15" fmla="*/ 215 h 295"/>
                <a:gd name="T16" fmla="*/ 181 w 181"/>
                <a:gd name="T17" fmla="*/ 21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181" y="210"/>
                  </a:moveTo>
                  <a:lnTo>
                    <a:pt x="181" y="0"/>
                  </a:lnTo>
                  <a:lnTo>
                    <a:pt x="0" y="56"/>
                  </a:lnTo>
                  <a:lnTo>
                    <a:pt x="0" y="295"/>
                  </a:lnTo>
                  <a:lnTo>
                    <a:pt x="171" y="224"/>
                  </a:lnTo>
                  <a:lnTo>
                    <a:pt x="174" y="222"/>
                  </a:lnTo>
                  <a:lnTo>
                    <a:pt x="178" y="219"/>
                  </a:lnTo>
                  <a:lnTo>
                    <a:pt x="180" y="215"/>
                  </a:lnTo>
                  <a:lnTo>
                    <a:pt x="181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2" name="Forma libre 619">
              <a:extLst>
                <a:ext uri="{FF2B5EF4-FFF2-40B4-BE49-F238E27FC236}">
                  <a16:creationId xmlns:a16="http://schemas.microsoft.com/office/drawing/2014/main" id="{3D5204B4-1110-465B-8858-6C960CB41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097213"/>
              <a:ext cx="57150" cy="93663"/>
            </a:xfrm>
            <a:custGeom>
              <a:avLst/>
              <a:gdLst>
                <a:gd name="T0" fmla="*/ 9 w 181"/>
                <a:gd name="T1" fmla="*/ 224 h 295"/>
                <a:gd name="T2" fmla="*/ 181 w 181"/>
                <a:gd name="T3" fmla="*/ 295 h 295"/>
                <a:gd name="T4" fmla="*/ 181 w 181"/>
                <a:gd name="T5" fmla="*/ 56 h 295"/>
                <a:gd name="T6" fmla="*/ 0 w 181"/>
                <a:gd name="T7" fmla="*/ 0 h 295"/>
                <a:gd name="T8" fmla="*/ 0 w 181"/>
                <a:gd name="T9" fmla="*/ 210 h 295"/>
                <a:gd name="T10" fmla="*/ 0 w 181"/>
                <a:gd name="T11" fmla="*/ 215 h 295"/>
                <a:gd name="T12" fmla="*/ 2 w 181"/>
                <a:gd name="T13" fmla="*/ 219 h 295"/>
                <a:gd name="T14" fmla="*/ 6 w 181"/>
                <a:gd name="T15" fmla="*/ 222 h 295"/>
                <a:gd name="T16" fmla="*/ 9 w 181"/>
                <a:gd name="T17" fmla="*/ 2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9" y="224"/>
                  </a:moveTo>
                  <a:lnTo>
                    <a:pt x="181" y="295"/>
                  </a:lnTo>
                  <a:lnTo>
                    <a:pt x="181" y="56"/>
                  </a:lnTo>
                  <a:lnTo>
                    <a:pt x="0" y="0"/>
                  </a:lnTo>
                  <a:lnTo>
                    <a:pt x="0" y="210"/>
                  </a:lnTo>
                  <a:lnTo>
                    <a:pt x="0" y="215"/>
                  </a:lnTo>
                  <a:lnTo>
                    <a:pt x="2" y="219"/>
                  </a:lnTo>
                  <a:lnTo>
                    <a:pt x="6" y="222"/>
                  </a:lnTo>
                  <a:lnTo>
                    <a:pt x="9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3" name="Forma libre 620">
              <a:extLst>
                <a:ext uri="{FF2B5EF4-FFF2-40B4-BE49-F238E27FC236}">
                  <a16:creationId xmlns:a16="http://schemas.microsoft.com/office/drawing/2014/main" id="{6B7E0950-F996-439F-917C-114705BD0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475" y="3217863"/>
              <a:ext cx="47625" cy="77788"/>
            </a:xfrm>
            <a:custGeom>
              <a:avLst/>
              <a:gdLst>
                <a:gd name="T0" fmla="*/ 0 w 150"/>
                <a:gd name="T1" fmla="*/ 67 h 249"/>
                <a:gd name="T2" fmla="*/ 0 w 150"/>
                <a:gd name="T3" fmla="*/ 249 h 249"/>
                <a:gd name="T4" fmla="*/ 141 w 150"/>
                <a:gd name="T5" fmla="*/ 177 h 249"/>
                <a:gd name="T6" fmla="*/ 146 w 150"/>
                <a:gd name="T7" fmla="*/ 175 h 249"/>
                <a:gd name="T8" fmla="*/ 148 w 150"/>
                <a:gd name="T9" fmla="*/ 171 h 249"/>
                <a:gd name="T10" fmla="*/ 149 w 150"/>
                <a:gd name="T11" fmla="*/ 168 h 249"/>
                <a:gd name="T12" fmla="*/ 150 w 150"/>
                <a:gd name="T13" fmla="*/ 164 h 249"/>
                <a:gd name="T14" fmla="*/ 150 w 150"/>
                <a:gd name="T15" fmla="*/ 0 h 249"/>
                <a:gd name="T16" fmla="*/ 0 w 150"/>
                <a:gd name="T17" fmla="*/ 6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249">
                  <a:moveTo>
                    <a:pt x="0" y="67"/>
                  </a:moveTo>
                  <a:lnTo>
                    <a:pt x="0" y="249"/>
                  </a:lnTo>
                  <a:lnTo>
                    <a:pt x="141" y="177"/>
                  </a:lnTo>
                  <a:lnTo>
                    <a:pt x="146" y="175"/>
                  </a:lnTo>
                  <a:lnTo>
                    <a:pt x="148" y="171"/>
                  </a:lnTo>
                  <a:lnTo>
                    <a:pt x="149" y="168"/>
                  </a:lnTo>
                  <a:lnTo>
                    <a:pt x="150" y="164"/>
                  </a:lnTo>
                  <a:lnTo>
                    <a:pt x="150" y="0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4" name="Forma libre 621">
              <a:extLst>
                <a:ext uri="{FF2B5EF4-FFF2-40B4-BE49-F238E27FC236}">
                  <a16:creationId xmlns:a16="http://schemas.microsoft.com/office/drawing/2014/main" id="{0A881E18-2DDA-4089-8B55-63C395994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263" y="3192463"/>
              <a:ext cx="88900" cy="38100"/>
            </a:xfrm>
            <a:custGeom>
              <a:avLst/>
              <a:gdLst>
                <a:gd name="T0" fmla="*/ 146 w 281"/>
                <a:gd name="T1" fmla="*/ 2 h 120"/>
                <a:gd name="T2" fmla="*/ 143 w 281"/>
                <a:gd name="T3" fmla="*/ 0 h 120"/>
                <a:gd name="T4" fmla="*/ 141 w 281"/>
                <a:gd name="T5" fmla="*/ 0 h 120"/>
                <a:gd name="T6" fmla="*/ 138 w 281"/>
                <a:gd name="T7" fmla="*/ 0 h 120"/>
                <a:gd name="T8" fmla="*/ 134 w 281"/>
                <a:gd name="T9" fmla="*/ 2 h 120"/>
                <a:gd name="T10" fmla="*/ 0 w 281"/>
                <a:gd name="T11" fmla="*/ 55 h 120"/>
                <a:gd name="T12" fmla="*/ 141 w 281"/>
                <a:gd name="T13" fmla="*/ 120 h 120"/>
                <a:gd name="T14" fmla="*/ 281 w 281"/>
                <a:gd name="T15" fmla="*/ 55 h 120"/>
                <a:gd name="T16" fmla="*/ 146 w 281"/>
                <a:gd name="T17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1" h="120">
                  <a:moveTo>
                    <a:pt x="146" y="2"/>
                  </a:moveTo>
                  <a:lnTo>
                    <a:pt x="143" y="0"/>
                  </a:lnTo>
                  <a:lnTo>
                    <a:pt x="141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0" y="55"/>
                  </a:lnTo>
                  <a:lnTo>
                    <a:pt x="141" y="120"/>
                  </a:lnTo>
                  <a:lnTo>
                    <a:pt x="281" y="55"/>
                  </a:lnTo>
                  <a:lnTo>
                    <a:pt x="14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5" name="Forma libre 622">
              <a:extLst>
                <a:ext uri="{FF2B5EF4-FFF2-40B4-BE49-F238E27FC236}">
                  <a16:creationId xmlns:a16="http://schemas.microsoft.com/office/drawing/2014/main" id="{6218BC25-E223-4C48-890B-8A5A9339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325" y="3217863"/>
              <a:ext cx="47625" cy="77788"/>
            </a:xfrm>
            <a:custGeom>
              <a:avLst/>
              <a:gdLst>
                <a:gd name="T0" fmla="*/ 0 w 151"/>
                <a:gd name="T1" fmla="*/ 164 h 249"/>
                <a:gd name="T2" fmla="*/ 1 w 151"/>
                <a:gd name="T3" fmla="*/ 167 h 249"/>
                <a:gd name="T4" fmla="*/ 2 w 151"/>
                <a:gd name="T5" fmla="*/ 171 h 249"/>
                <a:gd name="T6" fmla="*/ 5 w 151"/>
                <a:gd name="T7" fmla="*/ 175 h 249"/>
                <a:gd name="T8" fmla="*/ 8 w 151"/>
                <a:gd name="T9" fmla="*/ 177 h 249"/>
                <a:gd name="T10" fmla="*/ 151 w 151"/>
                <a:gd name="T11" fmla="*/ 249 h 249"/>
                <a:gd name="T12" fmla="*/ 151 w 151"/>
                <a:gd name="T13" fmla="*/ 67 h 249"/>
                <a:gd name="T14" fmla="*/ 0 w 151"/>
                <a:gd name="T15" fmla="*/ 0 h 249"/>
                <a:gd name="T16" fmla="*/ 0 w 151"/>
                <a:gd name="T17" fmla="*/ 16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249">
                  <a:moveTo>
                    <a:pt x="0" y="164"/>
                  </a:moveTo>
                  <a:lnTo>
                    <a:pt x="1" y="167"/>
                  </a:lnTo>
                  <a:lnTo>
                    <a:pt x="2" y="171"/>
                  </a:lnTo>
                  <a:lnTo>
                    <a:pt x="5" y="175"/>
                  </a:lnTo>
                  <a:lnTo>
                    <a:pt x="8" y="177"/>
                  </a:lnTo>
                  <a:lnTo>
                    <a:pt x="151" y="249"/>
                  </a:lnTo>
                  <a:lnTo>
                    <a:pt x="151" y="67"/>
                  </a:lnTo>
                  <a:lnTo>
                    <a:pt x="0" y="0"/>
                  </a:lnTo>
                  <a:lnTo>
                    <a:pt x="0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6" name="Forma libre 623">
              <a:extLst>
                <a:ext uri="{FF2B5EF4-FFF2-40B4-BE49-F238E27FC236}">
                  <a16:creationId xmlns:a16="http://schemas.microsoft.com/office/drawing/2014/main" id="{2384565C-9F0D-4FE6-8C50-596BDBFA8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288" y="3201988"/>
              <a:ext cx="144463" cy="47625"/>
            </a:xfrm>
            <a:custGeom>
              <a:avLst/>
              <a:gdLst>
                <a:gd name="T0" fmla="*/ 231 w 452"/>
                <a:gd name="T1" fmla="*/ 2 h 151"/>
                <a:gd name="T2" fmla="*/ 225 w 452"/>
                <a:gd name="T3" fmla="*/ 0 h 151"/>
                <a:gd name="T4" fmla="*/ 221 w 452"/>
                <a:gd name="T5" fmla="*/ 2 h 151"/>
                <a:gd name="T6" fmla="*/ 0 w 452"/>
                <a:gd name="T7" fmla="*/ 70 h 151"/>
                <a:gd name="T8" fmla="*/ 225 w 452"/>
                <a:gd name="T9" fmla="*/ 151 h 151"/>
                <a:gd name="T10" fmla="*/ 452 w 452"/>
                <a:gd name="T11" fmla="*/ 70 h 151"/>
                <a:gd name="T12" fmla="*/ 231 w 452"/>
                <a:gd name="T13" fmla="*/ 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2" h="151">
                  <a:moveTo>
                    <a:pt x="231" y="2"/>
                  </a:moveTo>
                  <a:lnTo>
                    <a:pt x="225" y="0"/>
                  </a:lnTo>
                  <a:lnTo>
                    <a:pt x="221" y="2"/>
                  </a:lnTo>
                  <a:lnTo>
                    <a:pt x="0" y="70"/>
                  </a:lnTo>
                  <a:lnTo>
                    <a:pt x="225" y="151"/>
                  </a:lnTo>
                  <a:lnTo>
                    <a:pt x="452" y="70"/>
                  </a:lnTo>
                  <a:lnTo>
                    <a:pt x="23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7" name="Forma libre 624">
              <a:extLst>
                <a:ext uri="{FF2B5EF4-FFF2-40B4-BE49-F238E27FC236}">
                  <a16:creationId xmlns:a16="http://schemas.microsoft.com/office/drawing/2014/main" id="{A7C2B59B-8FAF-487F-B8A0-3D9225CF8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3230563"/>
              <a:ext cx="76200" cy="123825"/>
            </a:xfrm>
            <a:custGeom>
              <a:avLst/>
              <a:gdLst>
                <a:gd name="T0" fmla="*/ 0 w 240"/>
                <a:gd name="T1" fmla="*/ 285 h 386"/>
                <a:gd name="T2" fmla="*/ 1 w 240"/>
                <a:gd name="T3" fmla="*/ 289 h 386"/>
                <a:gd name="T4" fmla="*/ 2 w 240"/>
                <a:gd name="T5" fmla="*/ 294 h 386"/>
                <a:gd name="T6" fmla="*/ 5 w 240"/>
                <a:gd name="T7" fmla="*/ 297 h 386"/>
                <a:gd name="T8" fmla="*/ 10 w 240"/>
                <a:gd name="T9" fmla="*/ 299 h 386"/>
                <a:gd name="T10" fmla="*/ 240 w 240"/>
                <a:gd name="T11" fmla="*/ 386 h 386"/>
                <a:gd name="T12" fmla="*/ 240 w 240"/>
                <a:gd name="T13" fmla="*/ 84 h 386"/>
                <a:gd name="T14" fmla="*/ 0 w 240"/>
                <a:gd name="T15" fmla="*/ 0 h 386"/>
                <a:gd name="T16" fmla="*/ 0 w 240"/>
                <a:gd name="T17" fmla="*/ 2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386">
                  <a:moveTo>
                    <a:pt x="0" y="285"/>
                  </a:moveTo>
                  <a:lnTo>
                    <a:pt x="1" y="289"/>
                  </a:lnTo>
                  <a:lnTo>
                    <a:pt x="2" y="294"/>
                  </a:lnTo>
                  <a:lnTo>
                    <a:pt x="5" y="297"/>
                  </a:lnTo>
                  <a:lnTo>
                    <a:pt x="10" y="299"/>
                  </a:lnTo>
                  <a:lnTo>
                    <a:pt x="240" y="386"/>
                  </a:lnTo>
                  <a:lnTo>
                    <a:pt x="240" y="84"/>
                  </a:lnTo>
                  <a:lnTo>
                    <a:pt x="0" y="0"/>
                  </a:lnTo>
                  <a:lnTo>
                    <a:pt x="0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38" name="Forma libre 625">
              <a:extLst>
                <a:ext uri="{FF2B5EF4-FFF2-40B4-BE49-F238E27FC236}">
                  <a16:creationId xmlns:a16="http://schemas.microsoft.com/office/drawing/2014/main" id="{2D456B7F-F377-42E3-9432-3B752645D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3230563"/>
              <a:ext cx="76200" cy="123825"/>
            </a:xfrm>
            <a:custGeom>
              <a:avLst/>
              <a:gdLst>
                <a:gd name="T0" fmla="*/ 0 w 241"/>
                <a:gd name="T1" fmla="*/ 386 h 386"/>
                <a:gd name="T2" fmla="*/ 231 w 241"/>
                <a:gd name="T3" fmla="*/ 299 h 386"/>
                <a:gd name="T4" fmla="*/ 235 w 241"/>
                <a:gd name="T5" fmla="*/ 297 h 386"/>
                <a:gd name="T6" fmla="*/ 238 w 241"/>
                <a:gd name="T7" fmla="*/ 294 h 386"/>
                <a:gd name="T8" fmla="*/ 239 w 241"/>
                <a:gd name="T9" fmla="*/ 289 h 386"/>
                <a:gd name="T10" fmla="*/ 241 w 241"/>
                <a:gd name="T11" fmla="*/ 285 h 386"/>
                <a:gd name="T12" fmla="*/ 241 w 241"/>
                <a:gd name="T13" fmla="*/ 0 h 386"/>
                <a:gd name="T14" fmla="*/ 0 w 241"/>
                <a:gd name="T15" fmla="*/ 84 h 386"/>
                <a:gd name="T16" fmla="*/ 0 w 241"/>
                <a:gd name="T17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1" h="386">
                  <a:moveTo>
                    <a:pt x="0" y="386"/>
                  </a:moveTo>
                  <a:lnTo>
                    <a:pt x="231" y="299"/>
                  </a:lnTo>
                  <a:lnTo>
                    <a:pt x="235" y="297"/>
                  </a:lnTo>
                  <a:lnTo>
                    <a:pt x="238" y="294"/>
                  </a:lnTo>
                  <a:lnTo>
                    <a:pt x="239" y="289"/>
                  </a:lnTo>
                  <a:lnTo>
                    <a:pt x="241" y="285"/>
                  </a:lnTo>
                  <a:lnTo>
                    <a:pt x="241" y="0"/>
                  </a:lnTo>
                  <a:lnTo>
                    <a:pt x="0" y="84"/>
                  </a:lnTo>
                  <a:lnTo>
                    <a:pt x="0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</p:grpSp>
      <p:pic>
        <p:nvPicPr>
          <p:cNvPr id="39" name="Picture 2" descr="Imagen relacionada">
            <a:extLst>
              <a:ext uri="{FF2B5EF4-FFF2-40B4-BE49-F238E27FC236}">
                <a16:creationId xmlns:a16="http://schemas.microsoft.com/office/drawing/2014/main" id="{1EB6FA47-130D-482B-87A5-420284F6D8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8269" y="6606015"/>
            <a:ext cx="231472" cy="226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86 CuadroTexto">
            <a:extLst>
              <a:ext uri="{FF2B5EF4-FFF2-40B4-BE49-F238E27FC236}">
                <a16:creationId xmlns:a16="http://schemas.microsoft.com/office/drawing/2014/main" id="{A997B59B-25A9-4BCD-9640-03611767306D}"/>
              </a:ext>
            </a:extLst>
          </p:cNvPr>
          <p:cNvSpPr txBox="1"/>
          <p:nvPr userDrawn="1"/>
        </p:nvSpPr>
        <p:spPr>
          <a:xfrm>
            <a:off x="2985794" y="6608616"/>
            <a:ext cx="8864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marR="0" lvl="0" indent="0" algn="ctr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kern="0">
                <a:solidFill>
                  <a:srgbClr val="323F4F"/>
                </a:solidFill>
                <a:latin typeface="Flexo" pitchFamily="50" charset="0"/>
                <a:cs typeface="Arial" panose="020B0604020202020204" pitchFamily="34" charset="0"/>
              </a:defRPr>
            </a:lvl1pPr>
          </a:lstStyle>
          <a:p>
            <a:r>
              <a:rPr lang="es-PE" sz="900"/>
              <a:t>Modelo Ágil</a:t>
            </a:r>
            <a:endParaRPr lang="es-ES" sz="900"/>
          </a:p>
        </p:txBody>
      </p: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6BDB1BBB-348F-4713-BFC1-44BEC4676F2E}"/>
              </a:ext>
            </a:extLst>
          </p:cNvPr>
          <p:cNvCxnSpPr/>
          <p:nvPr userDrawn="1"/>
        </p:nvCxnSpPr>
        <p:spPr>
          <a:xfrm flipV="1">
            <a:off x="2564009" y="6615552"/>
            <a:ext cx="0" cy="20767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1442ED12-22A6-474E-9EC7-4394E987006F}"/>
              </a:ext>
            </a:extLst>
          </p:cNvPr>
          <p:cNvCxnSpPr/>
          <p:nvPr userDrawn="1"/>
        </p:nvCxnSpPr>
        <p:spPr>
          <a:xfrm flipV="1">
            <a:off x="3907196" y="6615552"/>
            <a:ext cx="0" cy="20767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52B04CEF-ACDA-42B1-8242-1817B09D5EAD}"/>
              </a:ext>
            </a:extLst>
          </p:cNvPr>
          <p:cNvCxnSpPr/>
          <p:nvPr userDrawn="1"/>
        </p:nvCxnSpPr>
        <p:spPr>
          <a:xfrm flipV="1">
            <a:off x="8100263" y="6615552"/>
            <a:ext cx="0" cy="20767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uadroTexto 43">
            <a:extLst>
              <a:ext uri="{FF2B5EF4-FFF2-40B4-BE49-F238E27FC236}">
                <a16:creationId xmlns:a16="http://schemas.microsoft.com/office/drawing/2014/main" id="{DF8B2A64-C2CA-4B4E-8528-D603D91CAD5D}"/>
              </a:ext>
            </a:extLst>
          </p:cNvPr>
          <p:cNvSpPr txBox="1"/>
          <p:nvPr userDrawn="1"/>
        </p:nvSpPr>
        <p:spPr>
          <a:xfrm>
            <a:off x="8155931" y="6608616"/>
            <a:ext cx="7256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Eras Bold ITC" panose="020B0604020202020204" pitchFamily="34" charset="0"/>
                <a:cs typeface="Arial" panose="020B0604020202020204" pitchFamily="34" charset="0"/>
              </a:rPr>
              <a:t>WOW</a:t>
            </a:r>
            <a:endParaRPr kumimoji="0" lang="es-PE" sz="945" b="1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Eras Bold ITC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C4077DF9-F987-4F47-92C0-9DD9CF9FF276}"/>
              </a:ext>
            </a:extLst>
          </p:cNvPr>
          <p:cNvCxnSpPr/>
          <p:nvPr userDrawn="1"/>
        </p:nvCxnSpPr>
        <p:spPr>
          <a:xfrm flipV="1">
            <a:off x="8910997" y="6615552"/>
            <a:ext cx="0" cy="20767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>
            <a:extLst>
              <a:ext uri="{FF2B5EF4-FFF2-40B4-BE49-F238E27FC236}">
                <a16:creationId xmlns:a16="http://schemas.microsoft.com/office/drawing/2014/main" id="{6FCB2BAD-E15A-4425-834C-1F70CBDC7061}"/>
              </a:ext>
            </a:extLst>
          </p:cNvPr>
          <p:cNvSpPr txBox="1"/>
          <p:nvPr userDrawn="1"/>
        </p:nvSpPr>
        <p:spPr>
          <a:xfrm>
            <a:off x="9167255" y="6450216"/>
            <a:ext cx="3024745" cy="230832"/>
          </a:xfrm>
          <a:prstGeom prst="rect">
            <a:avLst/>
          </a:prstGeom>
          <a:solidFill>
            <a:srgbClr val="D9D9D9"/>
          </a:solidFill>
        </p:spPr>
        <p:txBody>
          <a:bodyPr wrap="square" rtlCol="0" anchor="ctr">
            <a:spAutoFit/>
          </a:bodyPr>
          <a:lstStyle/>
          <a:p>
            <a:pPr marL="0" marR="0" lvl="0" indent="0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/>
                <a:cs typeface="Arial" panose="020B0604020202020204" pitchFamily="34" charset="0"/>
              </a:rPr>
              <a:t>Impacto en riesgo:</a:t>
            </a:r>
            <a:endParaRPr kumimoji="0" lang="es-PE" sz="1260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47" name="86 CuadroTexto">
            <a:extLst>
              <a:ext uri="{FF2B5EF4-FFF2-40B4-BE49-F238E27FC236}">
                <a16:creationId xmlns:a16="http://schemas.microsoft.com/office/drawing/2014/main" id="{56B2F700-3BEC-4B1F-84B2-68D3416CEA8E}"/>
              </a:ext>
            </a:extLst>
          </p:cNvPr>
          <p:cNvSpPr txBox="1"/>
          <p:nvPr userDrawn="1"/>
        </p:nvSpPr>
        <p:spPr>
          <a:xfrm>
            <a:off x="10404991" y="6460846"/>
            <a:ext cx="518335" cy="216982"/>
          </a:xfrm>
          <a:prstGeom prst="rect">
            <a:avLst/>
          </a:prstGeom>
          <a:solidFill>
            <a:srgbClr val="548235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PE" sz="810" b="1" kern="0">
                <a:solidFill>
                  <a:schemeClr val="bg1"/>
                </a:solidFill>
                <a:latin typeface="Flexo" pitchFamily="50" charset="0"/>
                <a:cs typeface="Arial" pitchFamily="34" charset="0"/>
              </a:rPr>
              <a:t>Bajo</a:t>
            </a:r>
            <a:endParaRPr lang="es-ES" sz="810" b="1" kern="0">
              <a:solidFill>
                <a:schemeClr val="bg1"/>
              </a:solidFill>
              <a:latin typeface="Flexo" pitchFamily="50" charset="0"/>
              <a:cs typeface="Arial" pitchFamily="34" charset="0"/>
            </a:endParaRPr>
          </a:p>
        </p:txBody>
      </p:sp>
      <p:sp>
        <p:nvSpPr>
          <p:cNvPr id="48" name="86 CuadroTexto">
            <a:extLst>
              <a:ext uri="{FF2B5EF4-FFF2-40B4-BE49-F238E27FC236}">
                <a16:creationId xmlns:a16="http://schemas.microsoft.com/office/drawing/2014/main" id="{6CDD3C68-8F38-4A45-8ACC-AA49AB1A461B}"/>
              </a:ext>
            </a:extLst>
          </p:cNvPr>
          <p:cNvSpPr txBox="1"/>
          <p:nvPr userDrawn="1"/>
        </p:nvSpPr>
        <p:spPr>
          <a:xfrm>
            <a:off x="10914839" y="6460846"/>
            <a:ext cx="760225" cy="216982"/>
          </a:xfrm>
          <a:prstGeom prst="rect">
            <a:avLst/>
          </a:prstGeom>
          <a:solidFill>
            <a:srgbClr val="FFB502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PE" sz="810" b="1" kern="0">
                <a:solidFill>
                  <a:schemeClr val="bg1"/>
                </a:solidFill>
                <a:latin typeface="Flexo" pitchFamily="50" charset="0"/>
                <a:cs typeface="Arial" pitchFamily="34" charset="0"/>
              </a:rPr>
              <a:t>Medio</a:t>
            </a:r>
            <a:endParaRPr lang="es-ES" sz="810" b="1" kern="0">
              <a:solidFill>
                <a:schemeClr val="bg1"/>
              </a:solidFill>
              <a:latin typeface="Flexo" pitchFamily="50" charset="0"/>
              <a:cs typeface="Arial" pitchFamily="34" charset="0"/>
            </a:endParaRPr>
          </a:p>
        </p:txBody>
      </p:sp>
      <p:sp>
        <p:nvSpPr>
          <p:cNvPr id="49" name="86 CuadroTexto">
            <a:extLst>
              <a:ext uri="{FF2B5EF4-FFF2-40B4-BE49-F238E27FC236}">
                <a16:creationId xmlns:a16="http://schemas.microsoft.com/office/drawing/2014/main" id="{E089F0DC-124B-42BE-BCA3-0B9102AEF4A7}"/>
              </a:ext>
            </a:extLst>
          </p:cNvPr>
          <p:cNvSpPr txBox="1"/>
          <p:nvPr userDrawn="1"/>
        </p:nvSpPr>
        <p:spPr>
          <a:xfrm>
            <a:off x="11666579" y="6460846"/>
            <a:ext cx="518335" cy="21698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PE" sz="810" b="1" kern="0">
                <a:solidFill>
                  <a:schemeClr val="bg1"/>
                </a:solidFill>
                <a:latin typeface="Flexo" pitchFamily="50" charset="0"/>
                <a:cs typeface="Arial" pitchFamily="34" charset="0"/>
              </a:rPr>
              <a:t>Alto</a:t>
            </a:r>
            <a:endParaRPr lang="es-ES" sz="810" b="1" kern="0">
              <a:solidFill>
                <a:schemeClr val="bg1"/>
              </a:solidFill>
              <a:latin typeface="Flexo" pitchFamily="50" charset="0"/>
              <a:cs typeface="Arial" pitchFamily="34" charset="0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A5687155-A932-4039-AA2A-A7745C21639C}"/>
              </a:ext>
            </a:extLst>
          </p:cNvPr>
          <p:cNvSpPr/>
          <p:nvPr userDrawn="1"/>
        </p:nvSpPr>
        <p:spPr>
          <a:xfrm>
            <a:off x="9646" y="657378"/>
            <a:ext cx="1326476" cy="5934241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/>
          </a:p>
        </p:txBody>
      </p:sp>
      <p:sp>
        <p:nvSpPr>
          <p:cNvPr id="51" name="Shape 552">
            <a:extLst>
              <a:ext uri="{FF2B5EF4-FFF2-40B4-BE49-F238E27FC236}">
                <a16:creationId xmlns:a16="http://schemas.microsoft.com/office/drawing/2014/main" id="{9D8AC3E3-DFBC-46DF-8020-74218FA392C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3209" y="5034854"/>
            <a:ext cx="552891" cy="421112"/>
          </a:xfrm>
          <a:custGeom>
            <a:avLst/>
            <a:gdLst>
              <a:gd name="T0" fmla="*/ 2147483646 w 16266"/>
              <a:gd name="T1" fmla="*/ 2147483646 h 14215"/>
              <a:gd name="T2" fmla="*/ 2147483646 w 16266"/>
              <a:gd name="T3" fmla="*/ 2147483646 h 14215"/>
              <a:gd name="T4" fmla="*/ 2147483646 w 16266"/>
              <a:gd name="T5" fmla="*/ 2147483646 h 14215"/>
              <a:gd name="T6" fmla="*/ 2147483646 w 16266"/>
              <a:gd name="T7" fmla="*/ 2147483646 h 14215"/>
              <a:gd name="T8" fmla="*/ 2147483646 w 16266"/>
              <a:gd name="T9" fmla="*/ 2147483646 h 14215"/>
              <a:gd name="T10" fmla="*/ 2147483646 w 16266"/>
              <a:gd name="T11" fmla="*/ 2147483646 h 14215"/>
              <a:gd name="T12" fmla="*/ 2147483646 w 16266"/>
              <a:gd name="T13" fmla="*/ 2147483646 h 14215"/>
              <a:gd name="T14" fmla="*/ 2147483646 w 16266"/>
              <a:gd name="T15" fmla="*/ 2147483646 h 14215"/>
              <a:gd name="T16" fmla="*/ 2147483646 w 16266"/>
              <a:gd name="T17" fmla="*/ 2147483646 h 14215"/>
              <a:gd name="T18" fmla="*/ 2147483646 w 16266"/>
              <a:gd name="T19" fmla="*/ 2147483646 h 14215"/>
              <a:gd name="T20" fmla="*/ 2147483646 w 16266"/>
              <a:gd name="T21" fmla="*/ 2147483646 h 14215"/>
              <a:gd name="T22" fmla="*/ 2147483646 w 16266"/>
              <a:gd name="T23" fmla="*/ 2147483646 h 14215"/>
              <a:gd name="T24" fmla="*/ 2147483646 w 16266"/>
              <a:gd name="T25" fmla="*/ 2147483646 h 14215"/>
              <a:gd name="T26" fmla="*/ 2147483646 w 16266"/>
              <a:gd name="T27" fmla="*/ 2147483646 h 14215"/>
              <a:gd name="T28" fmla="*/ 2147483646 w 16266"/>
              <a:gd name="T29" fmla="*/ 2147483646 h 14215"/>
              <a:gd name="T30" fmla="*/ 2147483646 w 16266"/>
              <a:gd name="T31" fmla="*/ 2147483646 h 14215"/>
              <a:gd name="T32" fmla="*/ 2147483646 w 16266"/>
              <a:gd name="T33" fmla="*/ 2147483646 h 14215"/>
              <a:gd name="T34" fmla="*/ 2147483646 w 16266"/>
              <a:gd name="T35" fmla="*/ 2147483646 h 14215"/>
              <a:gd name="T36" fmla="*/ 2147483646 w 16266"/>
              <a:gd name="T37" fmla="*/ 2147483646 h 14215"/>
              <a:gd name="T38" fmla="*/ 2147483646 w 16266"/>
              <a:gd name="T39" fmla="*/ 2147483646 h 14215"/>
              <a:gd name="T40" fmla="*/ 2147483646 w 16266"/>
              <a:gd name="T41" fmla="*/ 2147483646 h 14215"/>
              <a:gd name="T42" fmla="*/ 2147483646 w 16266"/>
              <a:gd name="T43" fmla="*/ 2147483646 h 14215"/>
              <a:gd name="T44" fmla="*/ 2147483646 w 16266"/>
              <a:gd name="T45" fmla="*/ 2147483646 h 14215"/>
              <a:gd name="T46" fmla="*/ 2147483646 w 16266"/>
              <a:gd name="T47" fmla="*/ 2147483646 h 14215"/>
              <a:gd name="T48" fmla="*/ 2147483646 w 16266"/>
              <a:gd name="T49" fmla="*/ 2147483646 h 14215"/>
              <a:gd name="T50" fmla="*/ 2147483646 w 16266"/>
              <a:gd name="T51" fmla="*/ 2147483646 h 14215"/>
              <a:gd name="T52" fmla="*/ 2147483646 w 16266"/>
              <a:gd name="T53" fmla="*/ 2147483646 h 14215"/>
              <a:gd name="T54" fmla="*/ 2147483646 w 16266"/>
              <a:gd name="T55" fmla="*/ 2147483646 h 14215"/>
              <a:gd name="T56" fmla="*/ 2147483646 w 16266"/>
              <a:gd name="T57" fmla="*/ 2147483646 h 14215"/>
              <a:gd name="T58" fmla="*/ 2147483646 w 16266"/>
              <a:gd name="T59" fmla="*/ 2147483646 h 14215"/>
              <a:gd name="T60" fmla="*/ 2147483646 w 16266"/>
              <a:gd name="T61" fmla="*/ 2147483646 h 14215"/>
              <a:gd name="T62" fmla="*/ 2147483646 w 16266"/>
              <a:gd name="T63" fmla="*/ 2147483646 h 14215"/>
              <a:gd name="T64" fmla="*/ 2147483646 w 16266"/>
              <a:gd name="T65" fmla="*/ 2147483646 h 14215"/>
              <a:gd name="T66" fmla="*/ 2147483646 w 16266"/>
              <a:gd name="T67" fmla="*/ 2147483646 h 14215"/>
              <a:gd name="T68" fmla="*/ 2147483646 w 16266"/>
              <a:gd name="T69" fmla="*/ 2147483646 h 14215"/>
              <a:gd name="T70" fmla="*/ 2147483646 w 16266"/>
              <a:gd name="T71" fmla="*/ 2147483646 h 14215"/>
              <a:gd name="T72" fmla="*/ 2147483646 w 16266"/>
              <a:gd name="T73" fmla="*/ 2147483646 h 14215"/>
              <a:gd name="T74" fmla="*/ 2147483646 w 16266"/>
              <a:gd name="T75" fmla="*/ 2147483646 h 14215"/>
              <a:gd name="T76" fmla="*/ 2147483646 w 16266"/>
              <a:gd name="T77" fmla="*/ 2147483646 h 14215"/>
              <a:gd name="T78" fmla="*/ 0 w 16266"/>
              <a:gd name="T79" fmla="*/ 2147483646 h 14215"/>
              <a:gd name="T80" fmla="*/ 0 w 16266"/>
              <a:gd name="T81" fmla="*/ 2147483646 h 14215"/>
              <a:gd name="T82" fmla="*/ 2147483646 w 16266"/>
              <a:gd name="T83" fmla="*/ 2147483646 h 14215"/>
              <a:gd name="T84" fmla="*/ 2147483646 w 16266"/>
              <a:gd name="T85" fmla="*/ 2147483646 h 14215"/>
              <a:gd name="T86" fmla="*/ 2147483646 w 16266"/>
              <a:gd name="T87" fmla="*/ 2147483646 h 14215"/>
              <a:gd name="T88" fmla="*/ 2147483646 w 16266"/>
              <a:gd name="T89" fmla="*/ 2147483646 h 14215"/>
              <a:gd name="T90" fmla="*/ 2147483646 w 16266"/>
              <a:gd name="T91" fmla="*/ 2147483646 h 14215"/>
              <a:gd name="T92" fmla="*/ 2147483646 w 16266"/>
              <a:gd name="T93" fmla="*/ 2147483646 h 14215"/>
              <a:gd name="T94" fmla="*/ 2147483646 w 16266"/>
              <a:gd name="T95" fmla="*/ 2147483646 h 14215"/>
              <a:gd name="T96" fmla="*/ 2147483646 w 16266"/>
              <a:gd name="T97" fmla="*/ 2147483646 h 14215"/>
              <a:gd name="T98" fmla="*/ 2147483646 w 16266"/>
              <a:gd name="T99" fmla="*/ 2147483646 h 14215"/>
              <a:gd name="T100" fmla="*/ 2147483646 w 16266"/>
              <a:gd name="T101" fmla="*/ 2147483646 h 14215"/>
              <a:gd name="T102" fmla="*/ 2147483646 w 16266"/>
              <a:gd name="T103" fmla="*/ 2147483646 h 14215"/>
              <a:gd name="T104" fmla="*/ 2147483646 w 16266"/>
              <a:gd name="T105" fmla="*/ 2147483646 h 14215"/>
              <a:gd name="T106" fmla="*/ 2147483646 w 16266"/>
              <a:gd name="T107" fmla="*/ 2147483646 h 14215"/>
              <a:gd name="T108" fmla="*/ 2147483646 w 16266"/>
              <a:gd name="T109" fmla="*/ 2147483646 h 14215"/>
              <a:gd name="T110" fmla="*/ 2147483646 w 16266"/>
              <a:gd name="T111" fmla="*/ 2147483646 h 14215"/>
              <a:gd name="T112" fmla="*/ 2147483646 w 16266"/>
              <a:gd name="T113" fmla="*/ 2147483646 h 14215"/>
              <a:gd name="T114" fmla="*/ 2147483646 w 16266"/>
              <a:gd name="T115" fmla="*/ 0 h 1421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6266"/>
              <a:gd name="T175" fmla="*/ 0 h 14215"/>
              <a:gd name="T176" fmla="*/ 16266 w 16266"/>
              <a:gd name="T177" fmla="*/ 14215 h 14215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6266" h="14215" extrusionOk="0">
                <a:moveTo>
                  <a:pt x="8597" y="4397"/>
                </a:moveTo>
                <a:lnTo>
                  <a:pt x="8719" y="4421"/>
                </a:lnTo>
                <a:lnTo>
                  <a:pt x="8866" y="4445"/>
                </a:lnTo>
                <a:lnTo>
                  <a:pt x="8988" y="4519"/>
                </a:lnTo>
                <a:lnTo>
                  <a:pt x="9085" y="4616"/>
                </a:lnTo>
                <a:lnTo>
                  <a:pt x="9159" y="4714"/>
                </a:lnTo>
                <a:lnTo>
                  <a:pt x="9208" y="4836"/>
                </a:lnTo>
                <a:lnTo>
                  <a:pt x="9232" y="4958"/>
                </a:lnTo>
                <a:lnTo>
                  <a:pt x="9256" y="5105"/>
                </a:lnTo>
                <a:lnTo>
                  <a:pt x="8963" y="8939"/>
                </a:lnTo>
                <a:lnTo>
                  <a:pt x="8939" y="9086"/>
                </a:lnTo>
                <a:lnTo>
                  <a:pt x="8890" y="9232"/>
                </a:lnTo>
                <a:lnTo>
                  <a:pt x="8817" y="9330"/>
                </a:lnTo>
                <a:lnTo>
                  <a:pt x="8719" y="9452"/>
                </a:lnTo>
                <a:lnTo>
                  <a:pt x="8597" y="9525"/>
                </a:lnTo>
                <a:lnTo>
                  <a:pt x="8475" y="9599"/>
                </a:lnTo>
                <a:lnTo>
                  <a:pt x="8353" y="9648"/>
                </a:lnTo>
                <a:lnTo>
                  <a:pt x="7913" y="9648"/>
                </a:lnTo>
                <a:lnTo>
                  <a:pt x="7791" y="9599"/>
                </a:lnTo>
                <a:lnTo>
                  <a:pt x="7669" y="9525"/>
                </a:lnTo>
                <a:lnTo>
                  <a:pt x="7547" y="9452"/>
                </a:lnTo>
                <a:lnTo>
                  <a:pt x="7449" y="9330"/>
                </a:lnTo>
                <a:lnTo>
                  <a:pt x="7376" y="9232"/>
                </a:lnTo>
                <a:lnTo>
                  <a:pt x="7327" y="9086"/>
                </a:lnTo>
                <a:lnTo>
                  <a:pt x="7303" y="8939"/>
                </a:lnTo>
                <a:lnTo>
                  <a:pt x="7010" y="5105"/>
                </a:lnTo>
                <a:lnTo>
                  <a:pt x="7034" y="4958"/>
                </a:lnTo>
                <a:lnTo>
                  <a:pt x="7058" y="4836"/>
                </a:lnTo>
                <a:lnTo>
                  <a:pt x="7107" y="4714"/>
                </a:lnTo>
                <a:lnTo>
                  <a:pt x="7180" y="4616"/>
                </a:lnTo>
                <a:lnTo>
                  <a:pt x="7278" y="4519"/>
                </a:lnTo>
                <a:lnTo>
                  <a:pt x="7400" y="4445"/>
                </a:lnTo>
                <a:lnTo>
                  <a:pt x="7547" y="4421"/>
                </a:lnTo>
                <a:lnTo>
                  <a:pt x="7669" y="4397"/>
                </a:lnTo>
                <a:lnTo>
                  <a:pt x="8597" y="4397"/>
                </a:lnTo>
                <a:close/>
                <a:moveTo>
                  <a:pt x="8133" y="10429"/>
                </a:moveTo>
                <a:lnTo>
                  <a:pt x="8328" y="10454"/>
                </a:lnTo>
                <a:lnTo>
                  <a:pt x="8499" y="10502"/>
                </a:lnTo>
                <a:lnTo>
                  <a:pt x="8670" y="10600"/>
                </a:lnTo>
                <a:lnTo>
                  <a:pt x="8817" y="10722"/>
                </a:lnTo>
                <a:lnTo>
                  <a:pt x="8939" y="10869"/>
                </a:lnTo>
                <a:lnTo>
                  <a:pt x="9037" y="11040"/>
                </a:lnTo>
                <a:lnTo>
                  <a:pt x="9085" y="11211"/>
                </a:lnTo>
                <a:lnTo>
                  <a:pt x="9110" y="11406"/>
                </a:lnTo>
                <a:lnTo>
                  <a:pt x="9085" y="11601"/>
                </a:lnTo>
                <a:lnTo>
                  <a:pt x="9037" y="11797"/>
                </a:lnTo>
                <a:lnTo>
                  <a:pt x="8939" y="11943"/>
                </a:lnTo>
                <a:lnTo>
                  <a:pt x="8817" y="12090"/>
                </a:lnTo>
                <a:lnTo>
                  <a:pt x="8670" y="12212"/>
                </a:lnTo>
                <a:lnTo>
                  <a:pt x="8499" y="12310"/>
                </a:lnTo>
                <a:lnTo>
                  <a:pt x="8328" y="12359"/>
                </a:lnTo>
                <a:lnTo>
                  <a:pt x="8133" y="12383"/>
                </a:lnTo>
                <a:lnTo>
                  <a:pt x="7938" y="12359"/>
                </a:lnTo>
                <a:lnTo>
                  <a:pt x="7742" y="12310"/>
                </a:lnTo>
                <a:lnTo>
                  <a:pt x="7596" y="12212"/>
                </a:lnTo>
                <a:lnTo>
                  <a:pt x="7449" y="12090"/>
                </a:lnTo>
                <a:lnTo>
                  <a:pt x="7327" y="11943"/>
                </a:lnTo>
                <a:lnTo>
                  <a:pt x="7229" y="11797"/>
                </a:lnTo>
                <a:lnTo>
                  <a:pt x="7180" y="11601"/>
                </a:lnTo>
                <a:lnTo>
                  <a:pt x="7156" y="11406"/>
                </a:lnTo>
                <a:lnTo>
                  <a:pt x="7180" y="11211"/>
                </a:lnTo>
                <a:lnTo>
                  <a:pt x="7229" y="11040"/>
                </a:lnTo>
                <a:lnTo>
                  <a:pt x="7327" y="10869"/>
                </a:lnTo>
                <a:lnTo>
                  <a:pt x="7449" y="10722"/>
                </a:lnTo>
                <a:lnTo>
                  <a:pt x="7596" y="10600"/>
                </a:lnTo>
                <a:lnTo>
                  <a:pt x="7742" y="10502"/>
                </a:lnTo>
                <a:lnTo>
                  <a:pt x="7938" y="10454"/>
                </a:lnTo>
                <a:lnTo>
                  <a:pt x="8133" y="10429"/>
                </a:lnTo>
                <a:close/>
                <a:moveTo>
                  <a:pt x="7986" y="0"/>
                </a:moveTo>
                <a:lnTo>
                  <a:pt x="7864" y="25"/>
                </a:lnTo>
                <a:lnTo>
                  <a:pt x="7742" y="74"/>
                </a:lnTo>
                <a:lnTo>
                  <a:pt x="7620" y="123"/>
                </a:lnTo>
                <a:lnTo>
                  <a:pt x="7522" y="196"/>
                </a:lnTo>
                <a:lnTo>
                  <a:pt x="7425" y="294"/>
                </a:lnTo>
                <a:lnTo>
                  <a:pt x="7327" y="391"/>
                </a:lnTo>
                <a:lnTo>
                  <a:pt x="7254" y="489"/>
                </a:lnTo>
                <a:lnTo>
                  <a:pt x="147" y="12700"/>
                </a:lnTo>
                <a:lnTo>
                  <a:pt x="73" y="12823"/>
                </a:lnTo>
                <a:lnTo>
                  <a:pt x="25" y="12945"/>
                </a:lnTo>
                <a:lnTo>
                  <a:pt x="0" y="13067"/>
                </a:lnTo>
                <a:lnTo>
                  <a:pt x="0" y="13213"/>
                </a:lnTo>
                <a:lnTo>
                  <a:pt x="0" y="13335"/>
                </a:lnTo>
                <a:lnTo>
                  <a:pt x="25" y="13458"/>
                </a:lnTo>
                <a:lnTo>
                  <a:pt x="73" y="13604"/>
                </a:lnTo>
                <a:lnTo>
                  <a:pt x="147" y="13726"/>
                </a:lnTo>
                <a:lnTo>
                  <a:pt x="220" y="13824"/>
                </a:lnTo>
                <a:lnTo>
                  <a:pt x="293" y="13922"/>
                </a:lnTo>
                <a:lnTo>
                  <a:pt x="391" y="14019"/>
                </a:lnTo>
                <a:lnTo>
                  <a:pt x="513" y="14093"/>
                </a:lnTo>
                <a:lnTo>
                  <a:pt x="635" y="14141"/>
                </a:lnTo>
                <a:lnTo>
                  <a:pt x="757" y="14190"/>
                </a:lnTo>
                <a:lnTo>
                  <a:pt x="879" y="14215"/>
                </a:lnTo>
                <a:lnTo>
                  <a:pt x="15387" y="14215"/>
                </a:lnTo>
                <a:lnTo>
                  <a:pt x="15509" y="14190"/>
                </a:lnTo>
                <a:lnTo>
                  <a:pt x="15631" y="14141"/>
                </a:lnTo>
                <a:lnTo>
                  <a:pt x="15753" y="14093"/>
                </a:lnTo>
                <a:lnTo>
                  <a:pt x="15875" y="14019"/>
                </a:lnTo>
                <a:lnTo>
                  <a:pt x="15973" y="13922"/>
                </a:lnTo>
                <a:lnTo>
                  <a:pt x="16046" y="13824"/>
                </a:lnTo>
                <a:lnTo>
                  <a:pt x="16119" y="13726"/>
                </a:lnTo>
                <a:lnTo>
                  <a:pt x="16193" y="13604"/>
                </a:lnTo>
                <a:lnTo>
                  <a:pt x="16241" y="13458"/>
                </a:lnTo>
                <a:lnTo>
                  <a:pt x="16266" y="13335"/>
                </a:lnTo>
                <a:lnTo>
                  <a:pt x="16266" y="13213"/>
                </a:lnTo>
                <a:lnTo>
                  <a:pt x="16266" y="13067"/>
                </a:lnTo>
                <a:lnTo>
                  <a:pt x="16241" y="12945"/>
                </a:lnTo>
                <a:lnTo>
                  <a:pt x="16193" y="12823"/>
                </a:lnTo>
                <a:lnTo>
                  <a:pt x="16119" y="12700"/>
                </a:lnTo>
                <a:lnTo>
                  <a:pt x="9012" y="489"/>
                </a:lnTo>
                <a:lnTo>
                  <a:pt x="8939" y="391"/>
                </a:lnTo>
                <a:lnTo>
                  <a:pt x="8841" y="294"/>
                </a:lnTo>
                <a:lnTo>
                  <a:pt x="8744" y="196"/>
                </a:lnTo>
                <a:lnTo>
                  <a:pt x="8646" y="123"/>
                </a:lnTo>
                <a:lnTo>
                  <a:pt x="8524" y="74"/>
                </a:lnTo>
                <a:lnTo>
                  <a:pt x="8402" y="25"/>
                </a:lnTo>
                <a:lnTo>
                  <a:pt x="8255" y="0"/>
                </a:lnTo>
                <a:lnTo>
                  <a:pt x="7986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lIns="82265" tIns="82265" rIns="82265" bIns="82265" anchor="ctr"/>
          <a:lstStyle/>
          <a:p>
            <a:pPr>
              <a:defRPr/>
            </a:pPr>
            <a:endParaRPr lang="es-ES" sz="1080">
              <a:solidFill>
                <a:srgbClr val="323F4F"/>
              </a:solidFill>
              <a:latin typeface="Calibri"/>
              <a:cs typeface="Arial" panose="020B0604020202020204" pitchFamily="34" charset="0"/>
            </a:endParaRPr>
          </a:p>
        </p:txBody>
      </p:sp>
      <p:pic>
        <p:nvPicPr>
          <p:cNvPr id="52" name="Picture 2" descr="Resultado de imagen para presupuesto">
            <a:extLst>
              <a:ext uri="{FF2B5EF4-FFF2-40B4-BE49-F238E27FC236}">
                <a16:creationId xmlns:a16="http://schemas.microsoft.com/office/drawing/2014/main" id="{CB72989E-B737-4A42-96E7-071C11FDA1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189" y="3703248"/>
            <a:ext cx="1046934" cy="647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CuadroTexto 52">
            <a:extLst>
              <a:ext uri="{FF2B5EF4-FFF2-40B4-BE49-F238E27FC236}">
                <a16:creationId xmlns:a16="http://schemas.microsoft.com/office/drawing/2014/main" id="{160FD6B5-9A90-4A28-8217-699A57E4ED35}"/>
              </a:ext>
            </a:extLst>
          </p:cNvPr>
          <p:cNvSpPr txBox="1"/>
          <p:nvPr userDrawn="1"/>
        </p:nvSpPr>
        <p:spPr>
          <a:xfrm>
            <a:off x="84930" y="5418761"/>
            <a:ext cx="12094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Riesgos/</a:t>
            </a:r>
          </a:p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Problemas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3B214B3F-91D4-427E-B146-AB7AC949B18F}"/>
              </a:ext>
            </a:extLst>
          </p:cNvPr>
          <p:cNvSpPr txBox="1"/>
          <p:nvPr userDrawn="1"/>
        </p:nvSpPr>
        <p:spPr>
          <a:xfrm>
            <a:off x="84930" y="4282169"/>
            <a:ext cx="1209449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Presupuesto</a:t>
            </a:r>
          </a:p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2020</a:t>
            </a:r>
          </a:p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080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EF974CC2-2C41-4631-A76B-DDB0367E1B0C}"/>
              </a:ext>
            </a:extLst>
          </p:cNvPr>
          <p:cNvSpPr txBox="1"/>
          <p:nvPr userDrawn="1"/>
        </p:nvSpPr>
        <p:spPr>
          <a:xfrm>
            <a:off x="84930" y="2886079"/>
            <a:ext cx="12094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Desviación y Avance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6639948E-EAE8-49DA-B0D5-C37FBDD47822}"/>
              </a:ext>
            </a:extLst>
          </p:cNvPr>
          <p:cNvSpPr txBox="1"/>
          <p:nvPr userDrawn="1"/>
        </p:nvSpPr>
        <p:spPr>
          <a:xfrm>
            <a:off x="52833" y="2038380"/>
            <a:ext cx="1273644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Fechas</a:t>
            </a:r>
          </a:p>
        </p:txBody>
      </p:sp>
      <p:pic>
        <p:nvPicPr>
          <p:cNvPr id="57" name="Imagen 56">
            <a:extLst>
              <a:ext uri="{FF2B5EF4-FFF2-40B4-BE49-F238E27FC236}">
                <a16:creationId xmlns:a16="http://schemas.microsoft.com/office/drawing/2014/main" id="{5B2A1514-6D7D-423A-9813-4DBA7DD6FB6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07" y="1496727"/>
            <a:ext cx="631097" cy="591604"/>
          </a:xfrm>
          <a:prstGeom prst="rect">
            <a:avLst/>
          </a:prstGeom>
        </p:spPr>
      </p:pic>
      <p:pic>
        <p:nvPicPr>
          <p:cNvPr id="58" name="Imagen 57">
            <a:extLst>
              <a:ext uri="{FF2B5EF4-FFF2-40B4-BE49-F238E27FC236}">
                <a16:creationId xmlns:a16="http://schemas.microsoft.com/office/drawing/2014/main" id="{46C81961-870C-4C3F-9267-E5EB631E514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98" y="2296538"/>
            <a:ext cx="691114" cy="647865"/>
          </a:xfrm>
          <a:prstGeom prst="rect">
            <a:avLst/>
          </a:prstGeom>
        </p:spPr>
      </p:pic>
      <p:sp>
        <p:nvSpPr>
          <p:cNvPr id="59" name="CuadroTexto 58">
            <a:extLst>
              <a:ext uri="{FF2B5EF4-FFF2-40B4-BE49-F238E27FC236}">
                <a16:creationId xmlns:a16="http://schemas.microsoft.com/office/drawing/2014/main" id="{7D5C60EF-1F10-41A7-A7C6-97F626E32DB2}"/>
              </a:ext>
            </a:extLst>
          </p:cNvPr>
          <p:cNvSpPr txBox="1"/>
          <p:nvPr userDrawn="1"/>
        </p:nvSpPr>
        <p:spPr>
          <a:xfrm>
            <a:off x="84930" y="880616"/>
            <a:ext cx="1209449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(Etapa)  </a:t>
            </a:r>
          </a:p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Nombre de Proyecto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717C3D2A-EFD5-400F-A233-FAA4B3111E40}"/>
              </a:ext>
            </a:extLst>
          </p:cNvPr>
          <p:cNvSpPr txBox="1"/>
          <p:nvPr userDrawn="1"/>
        </p:nvSpPr>
        <p:spPr>
          <a:xfrm>
            <a:off x="349086" y="6608616"/>
            <a:ext cx="4513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RUN</a:t>
            </a:r>
            <a:endParaRPr kumimoji="0" lang="es-PE" sz="945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sp>
        <p:nvSpPr>
          <p:cNvPr id="61" name="Forma libre 4344" descr="Icono de llave inglesa. ">
            <a:extLst>
              <a:ext uri="{FF2B5EF4-FFF2-40B4-BE49-F238E27FC236}">
                <a16:creationId xmlns:a16="http://schemas.microsoft.com/office/drawing/2014/main" id="{700996D1-B679-48F7-A785-BFC2C6E3F1BF}"/>
              </a:ext>
            </a:extLst>
          </p:cNvPr>
          <p:cNvSpPr>
            <a:spLocks/>
          </p:cNvSpPr>
          <p:nvPr userDrawn="1"/>
        </p:nvSpPr>
        <p:spPr bwMode="auto">
          <a:xfrm>
            <a:off x="264161" y="6654605"/>
            <a:ext cx="138223" cy="129573"/>
          </a:xfrm>
          <a:custGeom>
            <a:avLst/>
            <a:gdLst>
              <a:gd name="T0" fmla="*/ 853 w 886"/>
              <a:gd name="T1" fmla="*/ 137 h 886"/>
              <a:gd name="T2" fmla="*/ 842 w 886"/>
              <a:gd name="T3" fmla="*/ 134 h 886"/>
              <a:gd name="T4" fmla="*/ 833 w 886"/>
              <a:gd name="T5" fmla="*/ 138 h 886"/>
              <a:gd name="T6" fmla="*/ 646 w 886"/>
              <a:gd name="T7" fmla="*/ 172 h 886"/>
              <a:gd name="T8" fmla="*/ 754 w 886"/>
              <a:gd name="T9" fmla="*/ 46 h 886"/>
              <a:gd name="T10" fmla="*/ 754 w 886"/>
              <a:gd name="T11" fmla="*/ 37 h 886"/>
              <a:gd name="T12" fmla="*/ 747 w 886"/>
              <a:gd name="T13" fmla="*/ 29 h 886"/>
              <a:gd name="T14" fmla="*/ 704 w 886"/>
              <a:gd name="T15" fmla="*/ 12 h 886"/>
              <a:gd name="T16" fmla="*/ 659 w 886"/>
              <a:gd name="T17" fmla="*/ 2 h 886"/>
              <a:gd name="T18" fmla="*/ 615 w 886"/>
              <a:gd name="T19" fmla="*/ 0 h 886"/>
              <a:gd name="T20" fmla="*/ 577 w 886"/>
              <a:gd name="T21" fmla="*/ 6 h 886"/>
              <a:gd name="T22" fmla="*/ 539 w 886"/>
              <a:gd name="T23" fmla="*/ 15 h 886"/>
              <a:gd name="T24" fmla="*/ 505 w 886"/>
              <a:gd name="T25" fmla="*/ 31 h 886"/>
              <a:gd name="T26" fmla="*/ 473 w 886"/>
              <a:gd name="T27" fmla="*/ 52 h 886"/>
              <a:gd name="T28" fmla="*/ 443 w 886"/>
              <a:gd name="T29" fmla="*/ 76 h 886"/>
              <a:gd name="T30" fmla="*/ 405 w 886"/>
              <a:gd name="T31" fmla="*/ 124 h 886"/>
              <a:gd name="T32" fmla="*/ 380 w 886"/>
              <a:gd name="T33" fmla="*/ 178 h 886"/>
              <a:gd name="T34" fmla="*/ 368 w 886"/>
              <a:gd name="T35" fmla="*/ 235 h 886"/>
              <a:gd name="T36" fmla="*/ 368 w 886"/>
              <a:gd name="T37" fmla="*/ 293 h 886"/>
              <a:gd name="T38" fmla="*/ 382 w 886"/>
              <a:gd name="T39" fmla="*/ 351 h 886"/>
              <a:gd name="T40" fmla="*/ 21 w 886"/>
              <a:gd name="T41" fmla="*/ 738 h 886"/>
              <a:gd name="T42" fmla="*/ 7 w 886"/>
              <a:gd name="T43" fmla="*/ 762 h 886"/>
              <a:gd name="T44" fmla="*/ 1 w 886"/>
              <a:gd name="T45" fmla="*/ 787 h 886"/>
              <a:gd name="T46" fmla="*/ 2 w 886"/>
              <a:gd name="T47" fmla="*/ 813 h 886"/>
              <a:gd name="T48" fmla="*/ 11 w 886"/>
              <a:gd name="T49" fmla="*/ 838 h 886"/>
              <a:gd name="T50" fmla="*/ 27 w 886"/>
              <a:gd name="T51" fmla="*/ 860 h 886"/>
              <a:gd name="T52" fmla="*/ 48 w 886"/>
              <a:gd name="T53" fmla="*/ 875 h 886"/>
              <a:gd name="T54" fmla="*/ 73 w 886"/>
              <a:gd name="T55" fmla="*/ 884 h 886"/>
              <a:gd name="T56" fmla="*/ 99 w 886"/>
              <a:gd name="T57" fmla="*/ 885 h 886"/>
              <a:gd name="T58" fmla="*/ 125 w 886"/>
              <a:gd name="T59" fmla="*/ 879 h 886"/>
              <a:gd name="T60" fmla="*/ 148 w 886"/>
              <a:gd name="T61" fmla="*/ 866 h 886"/>
              <a:gd name="T62" fmla="*/ 530 w 886"/>
              <a:gd name="T63" fmla="*/ 502 h 886"/>
              <a:gd name="T64" fmla="*/ 570 w 886"/>
              <a:gd name="T65" fmla="*/ 515 h 886"/>
              <a:gd name="T66" fmla="*/ 612 w 886"/>
              <a:gd name="T67" fmla="*/ 520 h 886"/>
              <a:gd name="T68" fmla="*/ 626 w 886"/>
              <a:gd name="T69" fmla="*/ 520 h 886"/>
              <a:gd name="T70" fmla="*/ 664 w 886"/>
              <a:gd name="T71" fmla="*/ 518 h 886"/>
              <a:gd name="T72" fmla="*/ 702 w 886"/>
              <a:gd name="T73" fmla="*/ 509 h 886"/>
              <a:gd name="T74" fmla="*/ 737 w 886"/>
              <a:gd name="T75" fmla="*/ 496 h 886"/>
              <a:gd name="T76" fmla="*/ 769 w 886"/>
              <a:gd name="T77" fmla="*/ 477 h 886"/>
              <a:gd name="T78" fmla="*/ 800 w 886"/>
              <a:gd name="T79" fmla="*/ 454 h 886"/>
              <a:gd name="T80" fmla="*/ 837 w 886"/>
              <a:gd name="T81" fmla="*/ 413 h 886"/>
              <a:gd name="T82" fmla="*/ 867 w 886"/>
              <a:gd name="T83" fmla="*/ 360 h 886"/>
              <a:gd name="T84" fmla="*/ 883 w 886"/>
              <a:gd name="T85" fmla="*/ 301 h 886"/>
              <a:gd name="T86" fmla="*/ 885 w 886"/>
              <a:gd name="T87" fmla="*/ 241 h 886"/>
              <a:gd name="T88" fmla="*/ 873 w 886"/>
              <a:gd name="T89" fmla="*/ 181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86" h="886">
                <a:moveTo>
                  <a:pt x="857" y="143"/>
                </a:moveTo>
                <a:lnTo>
                  <a:pt x="855" y="139"/>
                </a:lnTo>
                <a:lnTo>
                  <a:pt x="853" y="137"/>
                </a:lnTo>
                <a:lnTo>
                  <a:pt x="849" y="135"/>
                </a:lnTo>
                <a:lnTo>
                  <a:pt x="846" y="133"/>
                </a:lnTo>
                <a:lnTo>
                  <a:pt x="842" y="134"/>
                </a:lnTo>
                <a:lnTo>
                  <a:pt x="839" y="135"/>
                </a:lnTo>
                <a:lnTo>
                  <a:pt x="836" y="136"/>
                </a:lnTo>
                <a:lnTo>
                  <a:pt x="833" y="138"/>
                </a:lnTo>
                <a:lnTo>
                  <a:pt x="712" y="259"/>
                </a:lnTo>
                <a:lnTo>
                  <a:pt x="646" y="259"/>
                </a:lnTo>
                <a:lnTo>
                  <a:pt x="646" y="172"/>
                </a:lnTo>
                <a:lnTo>
                  <a:pt x="751" y="53"/>
                </a:lnTo>
                <a:lnTo>
                  <a:pt x="753" y="49"/>
                </a:lnTo>
                <a:lnTo>
                  <a:pt x="754" y="46"/>
                </a:lnTo>
                <a:lnTo>
                  <a:pt x="755" y="43"/>
                </a:lnTo>
                <a:lnTo>
                  <a:pt x="755" y="39"/>
                </a:lnTo>
                <a:lnTo>
                  <a:pt x="754" y="37"/>
                </a:lnTo>
                <a:lnTo>
                  <a:pt x="752" y="33"/>
                </a:lnTo>
                <a:lnTo>
                  <a:pt x="750" y="31"/>
                </a:lnTo>
                <a:lnTo>
                  <a:pt x="747" y="29"/>
                </a:lnTo>
                <a:lnTo>
                  <a:pt x="733" y="23"/>
                </a:lnTo>
                <a:lnTo>
                  <a:pt x="719" y="16"/>
                </a:lnTo>
                <a:lnTo>
                  <a:pt x="704" y="12"/>
                </a:lnTo>
                <a:lnTo>
                  <a:pt x="689" y="8"/>
                </a:lnTo>
                <a:lnTo>
                  <a:pt x="674" y="5"/>
                </a:lnTo>
                <a:lnTo>
                  <a:pt x="659" y="2"/>
                </a:lnTo>
                <a:lnTo>
                  <a:pt x="643" y="1"/>
                </a:lnTo>
                <a:lnTo>
                  <a:pt x="628" y="0"/>
                </a:lnTo>
                <a:lnTo>
                  <a:pt x="615" y="0"/>
                </a:lnTo>
                <a:lnTo>
                  <a:pt x="602" y="1"/>
                </a:lnTo>
                <a:lnTo>
                  <a:pt x="589" y="3"/>
                </a:lnTo>
                <a:lnTo>
                  <a:pt x="577" y="6"/>
                </a:lnTo>
                <a:lnTo>
                  <a:pt x="564" y="8"/>
                </a:lnTo>
                <a:lnTo>
                  <a:pt x="552" y="11"/>
                </a:lnTo>
                <a:lnTo>
                  <a:pt x="539" y="15"/>
                </a:lnTo>
                <a:lnTo>
                  <a:pt x="527" y="19"/>
                </a:lnTo>
                <a:lnTo>
                  <a:pt x="516" y="25"/>
                </a:lnTo>
                <a:lnTo>
                  <a:pt x="505" y="31"/>
                </a:lnTo>
                <a:lnTo>
                  <a:pt x="493" y="37"/>
                </a:lnTo>
                <a:lnTo>
                  <a:pt x="482" y="44"/>
                </a:lnTo>
                <a:lnTo>
                  <a:pt x="473" y="52"/>
                </a:lnTo>
                <a:lnTo>
                  <a:pt x="462" y="59"/>
                </a:lnTo>
                <a:lnTo>
                  <a:pt x="452" y="68"/>
                </a:lnTo>
                <a:lnTo>
                  <a:pt x="443" y="76"/>
                </a:lnTo>
                <a:lnTo>
                  <a:pt x="429" y="91"/>
                </a:lnTo>
                <a:lnTo>
                  <a:pt x="416" y="107"/>
                </a:lnTo>
                <a:lnTo>
                  <a:pt x="405" y="124"/>
                </a:lnTo>
                <a:lnTo>
                  <a:pt x="396" y="141"/>
                </a:lnTo>
                <a:lnTo>
                  <a:pt x="387" y="160"/>
                </a:lnTo>
                <a:lnTo>
                  <a:pt x="380" y="178"/>
                </a:lnTo>
                <a:lnTo>
                  <a:pt x="374" y="196"/>
                </a:lnTo>
                <a:lnTo>
                  <a:pt x="370" y="215"/>
                </a:lnTo>
                <a:lnTo>
                  <a:pt x="368" y="235"/>
                </a:lnTo>
                <a:lnTo>
                  <a:pt x="366" y="254"/>
                </a:lnTo>
                <a:lnTo>
                  <a:pt x="367" y="274"/>
                </a:lnTo>
                <a:lnTo>
                  <a:pt x="368" y="293"/>
                </a:lnTo>
                <a:lnTo>
                  <a:pt x="371" y="313"/>
                </a:lnTo>
                <a:lnTo>
                  <a:pt x="376" y="332"/>
                </a:lnTo>
                <a:lnTo>
                  <a:pt x="382" y="351"/>
                </a:lnTo>
                <a:lnTo>
                  <a:pt x="390" y="369"/>
                </a:lnTo>
                <a:lnTo>
                  <a:pt x="27" y="732"/>
                </a:lnTo>
                <a:lnTo>
                  <a:pt x="21" y="738"/>
                </a:lnTo>
                <a:lnTo>
                  <a:pt x="16" y="746"/>
                </a:lnTo>
                <a:lnTo>
                  <a:pt x="11" y="753"/>
                </a:lnTo>
                <a:lnTo>
                  <a:pt x="7" y="762"/>
                </a:lnTo>
                <a:lnTo>
                  <a:pt x="4" y="769"/>
                </a:lnTo>
                <a:lnTo>
                  <a:pt x="2" y="778"/>
                </a:lnTo>
                <a:lnTo>
                  <a:pt x="1" y="787"/>
                </a:lnTo>
                <a:lnTo>
                  <a:pt x="0" y="796"/>
                </a:lnTo>
                <a:lnTo>
                  <a:pt x="1" y="805"/>
                </a:lnTo>
                <a:lnTo>
                  <a:pt x="2" y="813"/>
                </a:lnTo>
                <a:lnTo>
                  <a:pt x="4" y="822"/>
                </a:lnTo>
                <a:lnTo>
                  <a:pt x="7" y="830"/>
                </a:lnTo>
                <a:lnTo>
                  <a:pt x="11" y="838"/>
                </a:lnTo>
                <a:lnTo>
                  <a:pt x="15" y="845"/>
                </a:lnTo>
                <a:lnTo>
                  <a:pt x="20" y="853"/>
                </a:lnTo>
                <a:lnTo>
                  <a:pt x="27" y="860"/>
                </a:lnTo>
                <a:lnTo>
                  <a:pt x="33" y="866"/>
                </a:lnTo>
                <a:lnTo>
                  <a:pt x="41" y="871"/>
                </a:lnTo>
                <a:lnTo>
                  <a:pt x="48" y="875"/>
                </a:lnTo>
                <a:lnTo>
                  <a:pt x="55" y="879"/>
                </a:lnTo>
                <a:lnTo>
                  <a:pt x="64" y="882"/>
                </a:lnTo>
                <a:lnTo>
                  <a:pt x="73" y="884"/>
                </a:lnTo>
                <a:lnTo>
                  <a:pt x="81" y="885"/>
                </a:lnTo>
                <a:lnTo>
                  <a:pt x="91" y="886"/>
                </a:lnTo>
                <a:lnTo>
                  <a:pt x="99" y="885"/>
                </a:lnTo>
                <a:lnTo>
                  <a:pt x="108" y="884"/>
                </a:lnTo>
                <a:lnTo>
                  <a:pt x="116" y="882"/>
                </a:lnTo>
                <a:lnTo>
                  <a:pt x="125" y="879"/>
                </a:lnTo>
                <a:lnTo>
                  <a:pt x="133" y="875"/>
                </a:lnTo>
                <a:lnTo>
                  <a:pt x="140" y="871"/>
                </a:lnTo>
                <a:lnTo>
                  <a:pt x="148" y="866"/>
                </a:lnTo>
                <a:lnTo>
                  <a:pt x="154" y="860"/>
                </a:lnTo>
                <a:lnTo>
                  <a:pt x="517" y="497"/>
                </a:lnTo>
                <a:lnTo>
                  <a:pt x="530" y="502"/>
                </a:lnTo>
                <a:lnTo>
                  <a:pt x="543" y="507"/>
                </a:lnTo>
                <a:lnTo>
                  <a:pt x="556" y="512"/>
                </a:lnTo>
                <a:lnTo>
                  <a:pt x="570" y="515"/>
                </a:lnTo>
                <a:lnTo>
                  <a:pt x="584" y="517"/>
                </a:lnTo>
                <a:lnTo>
                  <a:pt x="598" y="519"/>
                </a:lnTo>
                <a:lnTo>
                  <a:pt x="612" y="520"/>
                </a:lnTo>
                <a:lnTo>
                  <a:pt x="626" y="520"/>
                </a:lnTo>
                <a:lnTo>
                  <a:pt x="626" y="520"/>
                </a:lnTo>
                <a:lnTo>
                  <a:pt x="626" y="520"/>
                </a:lnTo>
                <a:lnTo>
                  <a:pt x="639" y="520"/>
                </a:lnTo>
                <a:lnTo>
                  <a:pt x="651" y="519"/>
                </a:lnTo>
                <a:lnTo>
                  <a:pt x="664" y="518"/>
                </a:lnTo>
                <a:lnTo>
                  <a:pt x="677" y="516"/>
                </a:lnTo>
                <a:lnTo>
                  <a:pt x="689" y="513"/>
                </a:lnTo>
                <a:lnTo>
                  <a:pt x="702" y="509"/>
                </a:lnTo>
                <a:lnTo>
                  <a:pt x="714" y="505"/>
                </a:lnTo>
                <a:lnTo>
                  <a:pt x="725" y="501"/>
                </a:lnTo>
                <a:lnTo>
                  <a:pt x="737" y="496"/>
                </a:lnTo>
                <a:lnTo>
                  <a:pt x="748" y="490"/>
                </a:lnTo>
                <a:lnTo>
                  <a:pt x="758" y="484"/>
                </a:lnTo>
                <a:lnTo>
                  <a:pt x="769" y="477"/>
                </a:lnTo>
                <a:lnTo>
                  <a:pt x="780" y="470"/>
                </a:lnTo>
                <a:lnTo>
                  <a:pt x="791" y="462"/>
                </a:lnTo>
                <a:lnTo>
                  <a:pt x="800" y="454"/>
                </a:lnTo>
                <a:lnTo>
                  <a:pt x="810" y="444"/>
                </a:lnTo>
                <a:lnTo>
                  <a:pt x="824" y="429"/>
                </a:lnTo>
                <a:lnTo>
                  <a:pt x="837" y="413"/>
                </a:lnTo>
                <a:lnTo>
                  <a:pt x="848" y="396"/>
                </a:lnTo>
                <a:lnTo>
                  <a:pt x="858" y="378"/>
                </a:lnTo>
                <a:lnTo>
                  <a:pt x="867" y="360"/>
                </a:lnTo>
                <a:lnTo>
                  <a:pt x="873" y="340"/>
                </a:lnTo>
                <a:lnTo>
                  <a:pt x="878" y="321"/>
                </a:lnTo>
                <a:lnTo>
                  <a:pt x="883" y="301"/>
                </a:lnTo>
                <a:lnTo>
                  <a:pt x="885" y="282"/>
                </a:lnTo>
                <a:lnTo>
                  <a:pt x="886" y="261"/>
                </a:lnTo>
                <a:lnTo>
                  <a:pt x="885" y="241"/>
                </a:lnTo>
                <a:lnTo>
                  <a:pt x="883" y="221"/>
                </a:lnTo>
                <a:lnTo>
                  <a:pt x="878" y="200"/>
                </a:lnTo>
                <a:lnTo>
                  <a:pt x="873" y="181"/>
                </a:lnTo>
                <a:lnTo>
                  <a:pt x="865" y="162"/>
                </a:lnTo>
                <a:lnTo>
                  <a:pt x="857" y="14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2279" tIns="41139" rIns="82279" bIns="41139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s-ES" sz="1620"/>
          </a:p>
        </p:txBody>
      </p:sp>
      <p:grpSp>
        <p:nvGrpSpPr>
          <p:cNvPr id="62" name="Grupo 61" descr="Icono de dinero. ">
            <a:extLst>
              <a:ext uri="{FF2B5EF4-FFF2-40B4-BE49-F238E27FC236}">
                <a16:creationId xmlns:a16="http://schemas.microsoft.com/office/drawing/2014/main" id="{1C8A0DED-851C-4E12-BBDD-12E7727D4B03}"/>
              </a:ext>
            </a:extLst>
          </p:cNvPr>
          <p:cNvGrpSpPr/>
          <p:nvPr userDrawn="1"/>
        </p:nvGrpSpPr>
        <p:grpSpPr>
          <a:xfrm>
            <a:off x="776386" y="6638409"/>
            <a:ext cx="172778" cy="161966"/>
            <a:chOff x="3746500" y="1344613"/>
            <a:chExt cx="285750" cy="287338"/>
          </a:xfrm>
          <a:solidFill>
            <a:schemeClr val="tx1"/>
          </a:solidFill>
        </p:grpSpPr>
        <p:sp>
          <p:nvSpPr>
            <p:cNvPr id="63" name="Forma libre 497">
              <a:extLst>
                <a:ext uri="{FF2B5EF4-FFF2-40B4-BE49-F238E27FC236}">
                  <a16:creationId xmlns:a16="http://schemas.microsoft.com/office/drawing/2014/main" id="{9F7230DE-BD7B-4248-AF8C-AC59680CF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4" name="Forma libre 498">
              <a:extLst>
                <a:ext uri="{FF2B5EF4-FFF2-40B4-BE49-F238E27FC236}">
                  <a16:creationId xmlns:a16="http://schemas.microsoft.com/office/drawing/2014/main" id="{CFAED99D-8B32-4899-A7E8-6BA38D5A9A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5" name="Forma libre 499">
              <a:extLst>
                <a:ext uri="{FF2B5EF4-FFF2-40B4-BE49-F238E27FC236}">
                  <a16:creationId xmlns:a16="http://schemas.microsoft.com/office/drawing/2014/main" id="{C31DB79B-0EC4-49CB-83C6-B264628E9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6" name="Forma libre 500">
              <a:extLst>
                <a:ext uri="{FF2B5EF4-FFF2-40B4-BE49-F238E27FC236}">
                  <a16:creationId xmlns:a16="http://schemas.microsoft.com/office/drawing/2014/main" id="{178903B9-85E9-434A-8934-398D372ED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7" name="Forma libre 501">
              <a:extLst>
                <a:ext uri="{FF2B5EF4-FFF2-40B4-BE49-F238E27FC236}">
                  <a16:creationId xmlns:a16="http://schemas.microsoft.com/office/drawing/2014/main" id="{415556CA-A84C-4A91-AE50-2CE8459AB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8" name="Forma libre 502">
              <a:extLst>
                <a:ext uri="{FF2B5EF4-FFF2-40B4-BE49-F238E27FC236}">
                  <a16:creationId xmlns:a16="http://schemas.microsoft.com/office/drawing/2014/main" id="{8D6319F2-1B32-4074-8A84-46A905ADE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69" name="Forma libre 503">
              <a:extLst>
                <a:ext uri="{FF2B5EF4-FFF2-40B4-BE49-F238E27FC236}">
                  <a16:creationId xmlns:a16="http://schemas.microsoft.com/office/drawing/2014/main" id="{4AA66505-3286-4613-A07D-18A17BC59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0" name="Forma libre 504">
              <a:extLst>
                <a:ext uri="{FF2B5EF4-FFF2-40B4-BE49-F238E27FC236}">
                  <a16:creationId xmlns:a16="http://schemas.microsoft.com/office/drawing/2014/main" id="{DE8B213B-3B2C-4847-A6DB-0D717C3D8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</p:grpSp>
      <p:sp>
        <p:nvSpPr>
          <p:cNvPr id="71" name="CuadroTexto 70">
            <a:extLst>
              <a:ext uri="{FF2B5EF4-FFF2-40B4-BE49-F238E27FC236}">
                <a16:creationId xmlns:a16="http://schemas.microsoft.com/office/drawing/2014/main" id="{067697C8-F2AC-41A5-A4D0-335C2FDC9DC8}"/>
              </a:ext>
            </a:extLst>
          </p:cNvPr>
          <p:cNvSpPr txBox="1"/>
          <p:nvPr userDrawn="1"/>
        </p:nvSpPr>
        <p:spPr>
          <a:xfrm>
            <a:off x="895866" y="6608616"/>
            <a:ext cx="5774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GROW</a:t>
            </a:r>
            <a:endParaRPr kumimoji="0" lang="es-PE" sz="945" b="0" i="0" u="none" strike="noStrike" kern="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Flexo" pitchFamily="50" charset="0"/>
              <a:cs typeface="Arial" panose="020B0604020202020204" pitchFamily="34" charset="0"/>
            </a:endParaRPr>
          </a:p>
        </p:txBody>
      </p:sp>
      <p:grpSp>
        <p:nvGrpSpPr>
          <p:cNvPr id="72" name="Grupo 71" descr="Icono de cajas. ">
            <a:extLst>
              <a:ext uri="{FF2B5EF4-FFF2-40B4-BE49-F238E27FC236}">
                <a16:creationId xmlns:a16="http://schemas.microsoft.com/office/drawing/2014/main" id="{50918415-C66F-4B49-ADBB-DED52E71BCC5}"/>
              </a:ext>
            </a:extLst>
          </p:cNvPr>
          <p:cNvGrpSpPr/>
          <p:nvPr userDrawn="1"/>
        </p:nvGrpSpPr>
        <p:grpSpPr>
          <a:xfrm>
            <a:off x="1414211" y="6638409"/>
            <a:ext cx="172778" cy="161966"/>
            <a:chOff x="5465763" y="3068638"/>
            <a:chExt cx="287337" cy="285750"/>
          </a:xfrm>
          <a:solidFill>
            <a:schemeClr val="tx1"/>
          </a:solidFill>
        </p:grpSpPr>
        <p:sp>
          <p:nvSpPr>
            <p:cNvPr id="73" name="Forma libre 617">
              <a:extLst>
                <a:ext uri="{FF2B5EF4-FFF2-40B4-BE49-F238E27FC236}">
                  <a16:creationId xmlns:a16="http://schemas.microsoft.com/office/drawing/2014/main" id="{72D32099-DA02-4100-B97D-FC5576757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188" y="3068638"/>
              <a:ext cx="119063" cy="38100"/>
            </a:xfrm>
            <a:custGeom>
              <a:avLst/>
              <a:gdLst>
                <a:gd name="T0" fmla="*/ 375 w 375"/>
                <a:gd name="T1" fmla="*/ 62 h 120"/>
                <a:gd name="T2" fmla="*/ 374 w 375"/>
                <a:gd name="T3" fmla="*/ 62 h 120"/>
                <a:gd name="T4" fmla="*/ 373 w 375"/>
                <a:gd name="T5" fmla="*/ 61 h 120"/>
                <a:gd name="T6" fmla="*/ 193 w 375"/>
                <a:gd name="T7" fmla="*/ 1 h 120"/>
                <a:gd name="T8" fmla="*/ 188 w 375"/>
                <a:gd name="T9" fmla="*/ 0 h 120"/>
                <a:gd name="T10" fmla="*/ 183 w 375"/>
                <a:gd name="T11" fmla="*/ 1 h 120"/>
                <a:gd name="T12" fmla="*/ 2 w 375"/>
                <a:gd name="T13" fmla="*/ 61 h 120"/>
                <a:gd name="T14" fmla="*/ 1 w 375"/>
                <a:gd name="T15" fmla="*/ 62 h 120"/>
                <a:gd name="T16" fmla="*/ 0 w 375"/>
                <a:gd name="T17" fmla="*/ 62 h 120"/>
                <a:gd name="T18" fmla="*/ 188 w 375"/>
                <a:gd name="T19" fmla="*/ 120 h 120"/>
                <a:gd name="T20" fmla="*/ 375 w 375"/>
                <a:gd name="T21" fmla="*/ 6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" h="120">
                  <a:moveTo>
                    <a:pt x="375" y="62"/>
                  </a:moveTo>
                  <a:lnTo>
                    <a:pt x="374" y="62"/>
                  </a:lnTo>
                  <a:lnTo>
                    <a:pt x="373" y="61"/>
                  </a:lnTo>
                  <a:lnTo>
                    <a:pt x="193" y="1"/>
                  </a:lnTo>
                  <a:lnTo>
                    <a:pt x="188" y="0"/>
                  </a:lnTo>
                  <a:lnTo>
                    <a:pt x="183" y="1"/>
                  </a:lnTo>
                  <a:lnTo>
                    <a:pt x="2" y="61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188" y="120"/>
                  </a:lnTo>
                  <a:lnTo>
                    <a:pt x="375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4" name="Forma libre 618">
              <a:extLst>
                <a:ext uri="{FF2B5EF4-FFF2-40B4-BE49-F238E27FC236}">
                  <a16:creationId xmlns:a16="http://schemas.microsoft.com/office/drawing/2014/main" id="{362BF726-44C5-4D26-9B16-03CB9AD92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9275" y="3097213"/>
              <a:ext cx="57150" cy="93663"/>
            </a:xfrm>
            <a:custGeom>
              <a:avLst/>
              <a:gdLst>
                <a:gd name="T0" fmla="*/ 181 w 181"/>
                <a:gd name="T1" fmla="*/ 210 h 295"/>
                <a:gd name="T2" fmla="*/ 181 w 181"/>
                <a:gd name="T3" fmla="*/ 0 h 295"/>
                <a:gd name="T4" fmla="*/ 0 w 181"/>
                <a:gd name="T5" fmla="*/ 56 h 295"/>
                <a:gd name="T6" fmla="*/ 0 w 181"/>
                <a:gd name="T7" fmla="*/ 295 h 295"/>
                <a:gd name="T8" fmla="*/ 171 w 181"/>
                <a:gd name="T9" fmla="*/ 224 h 295"/>
                <a:gd name="T10" fmla="*/ 174 w 181"/>
                <a:gd name="T11" fmla="*/ 222 h 295"/>
                <a:gd name="T12" fmla="*/ 178 w 181"/>
                <a:gd name="T13" fmla="*/ 219 h 295"/>
                <a:gd name="T14" fmla="*/ 180 w 181"/>
                <a:gd name="T15" fmla="*/ 215 h 295"/>
                <a:gd name="T16" fmla="*/ 181 w 181"/>
                <a:gd name="T17" fmla="*/ 21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181" y="210"/>
                  </a:moveTo>
                  <a:lnTo>
                    <a:pt x="181" y="0"/>
                  </a:lnTo>
                  <a:lnTo>
                    <a:pt x="0" y="56"/>
                  </a:lnTo>
                  <a:lnTo>
                    <a:pt x="0" y="295"/>
                  </a:lnTo>
                  <a:lnTo>
                    <a:pt x="171" y="224"/>
                  </a:lnTo>
                  <a:lnTo>
                    <a:pt x="174" y="222"/>
                  </a:lnTo>
                  <a:lnTo>
                    <a:pt x="178" y="219"/>
                  </a:lnTo>
                  <a:lnTo>
                    <a:pt x="180" y="215"/>
                  </a:lnTo>
                  <a:lnTo>
                    <a:pt x="181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5" name="Forma libre 619">
              <a:extLst>
                <a:ext uri="{FF2B5EF4-FFF2-40B4-BE49-F238E27FC236}">
                  <a16:creationId xmlns:a16="http://schemas.microsoft.com/office/drawing/2014/main" id="{421A3636-13B2-46E6-BB9D-5971A2454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097213"/>
              <a:ext cx="57150" cy="93663"/>
            </a:xfrm>
            <a:custGeom>
              <a:avLst/>
              <a:gdLst>
                <a:gd name="T0" fmla="*/ 9 w 181"/>
                <a:gd name="T1" fmla="*/ 224 h 295"/>
                <a:gd name="T2" fmla="*/ 181 w 181"/>
                <a:gd name="T3" fmla="*/ 295 h 295"/>
                <a:gd name="T4" fmla="*/ 181 w 181"/>
                <a:gd name="T5" fmla="*/ 56 h 295"/>
                <a:gd name="T6" fmla="*/ 0 w 181"/>
                <a:gd name="T7" fmla="*/ 0 h 295"/>
                <a:gd name="T8" fmla="*/ 0 w 181"/>
                <a:gd name="T9" fmla="*/ 210 h 295"/>
                <a:gd name="T10" fmla="*/ 0 w 181"/>
                <a:gd name="T11" fmla="*/ 215 h 295"/>
                <a:gd name="T12" fmla="*/ 2 w 181"/>
                <a:gd name="T13" fmla="*/ 219 h 295"/>
                <a:gd name="T14" fmla="*/ 6 w 181"/>
                <a:gd name="T15" fmla="*/ 222 h 295"/>
                <a:gd name="T16" fmla="*/ 9 w 181"/>
                <a:gd name="T17" fmla="*/ 2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9" y="224"/>
                  </a:moveTo>
                  <a:lnTo>
                    <a:pt x="181" y="295"/>
                  </a:lnTo>
                  <a:lnTo>
                    <a:pt x="181" y="56"/>
                  </a:lnTo>
                  <a:lnTo>
                    <a:pt x="0" y="0"/>
                  </a:lnTo>
                  <a:lnTo>
                    <a:pt x="0" y="210"/>
                  </a:lnTo>
                  <a:lnTo>
                    <a:pt x="0" y="215"/>
                  </a:lnTo>
                  <a:lnTo>
                    <a:pt x="2" y="219"/>
                  </a:lnTo>
                  <a:lnTo>
                    <a:pt x="6" y="222"/>
                  </a:lnTo>
                  <a:lnTo>
                    <a:pt x="9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6" name="Forma libre 620">
              <a:extLst>
                <a:ext uri="{FF2B5EF4-FFF2-40B4-BE49-F238E27FC236}">
                  <a16:creationId xmlns:a16="http://schemas.microsoft.com/office/drawing/2014/main" id="{70606A0B-A9AD-4762-A082-8638708C4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475" y="3217863"/>
              <a:ext cx="47625" cy="77788"/>
            </a:xfrm>
            <a:custGeom>
              <a:avLst/>
              <a:gdLst>
                <a:gd name="T0" fmla="*/ 0 w 150"/>
                <a:gd name="T1" fmla="*/ 67 h 249"/>
                <a:gd name="T2" fmla="*/ 0 w 150"/>
                <a:gd name="T3" fmla="*/ 249 h 249"/>
                <a:gd name="T4" fmla="*/ 141 w 150"/>
                <a:gd name="T5" fmla="*/ 177 h 249"/>
                <a:gd name="T6" fmla="*/ 146 w 150"/>
                <a:gd name="T7" fmla="*/ 175 h 249"/>
                <a:gd name="T8" fmla="*/ 148 w 150"/>
                <a:gd name="T9" fmla="*/ 171 h 249"/>
                <a:gd name="T10" fmla="*/ 149 w 150"/>
                <a:gd name="T11" fmla="*/ 168 h 249"/>
                <a:gd name="T12" fmla="*/ 150 w 150"/>
                <a:gd name="T13" fmla="*/ 164 h 249"/>
                <a:gd name="T14" fmla="*/ 150 w 150"/>
                <a:gd name="T15" fmla="*/ 0 h 249"/>
                <a:gd name="T16" fmla="*/ 0 w 150"/>
                <a:gd name="T17" fmla="*/ 6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249">
                  <a:moveTo>
                    <a:pt x="0" y="67"/>
                  </a:moveTo>
                  <a:lnTo>
                    <a:pt x="0" y="249"/>
                  </a:lnTo>
                  <a:lnTo>
                    <a:pt x="141" y="177"/>
                  </a:lnTo>
                  <a:lnTo>
                    <a:pt x="146" y="175"/>
                  </a:lnTo>
                  <a:lnTo>
                    <a:pt x="148" y="171"/>
                  </a:lnTo>
                  <a:lnTo>
                    <a:pt x="149" y="168"/>
                  </a:lnTo>
                  <a:lnTo>
                    <a:pt x="150" y="164"/>
                  </a:lnTo>
                  <a:lnTo>
                    <a:pt x="150" y="0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7" name="Forma libre 621">
              <a:extLst>
                <a:ext uri="{FF2B5EF4-FFF2-40B4-BE49-F238E27FC236}">
                  <a16:creationId xmlns:a16="http://schemas.microsoft.com/office/drawing/2014/main" id="{F0BFE5B7-8DF8-46FD-A620-5863CDD2C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263" y="3192463"/>
              <a:ext cx="88900" cy="38100"/>
            </a:xfrm>
            <a:custGeom>
              <a:avLst/>
              <a:gdLst>
                <a:gd name="T0" fmla="*/ 146 w 281"/>
                <a:gd name="T1" fmla="*/ 2 h 120"/>
                <a:gd name="T2" fmla="*/ 143 w 281"/>
                <a:gd name="T3" fmla="*/ 0 h 120"/>
                <a:gd name="T4" fmla="*/ 141 w 281"/>
                <a:gd name="T5" fmla="*/ 0 h 120"/>
                <a:gd name="T6" fmla="*/ 138 w 281"/>
                <a:gd name="T7" fmla="*/ 0 h 120"/>
                <a:gd name="T8" fmla="*/ 134 w 281"/>
                <a:gd name="T9" fmla="*/ 2 h 120"/>
                <a:gd name="T10" fmla="*/ 0 w 281"/>
                <a:gd name="T11" fmla="*/ 55 h 120"/>
                <a:gd name="T12" fmla="*/ 141 w 281"/>
                <a:gd name="T13" fmla="*/ 120 h 120"/>
                <a:gd name="T14" fmla="*/ 281 w 281"/>
                <a:gd name="T15" fmla="*/ 55 h 120"/>
                <a:gd name="T16" fmla="*/ 146 w 281"/>
                <a:gd name="T17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1" h="120">
                  <a:moveTo>
                    <a:pt x="146" y="2"/>
                  </a:moveTo>
                  <a:lnTo>
                    <a:pt x="143" y="0"/>
                  </a:lnTo>
                  <a:lnTo>
                    <a:pt x="141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0" y="55"/>
                  </a:lnTo>
                  <a:lnTo>
                    <a:pt x="141" y="120"/>
                  </a:lnTo>
                  <a:lnTo>
                    <a:pt x="281" y="55"/>
                  </a:lnTo>
                  <a:lnTo>
                    <a:pt x="14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8" name="Forma libre 622">
              <a:extLst>
                <a:ext uri="{FF2B5EF4-FFF2-40B4-BE49-F238E27FC236}">
                  <a16:creationId xmlns:a16="http://schemas.microsoft.com/office/drawing/2014/main" id="{5D0B9796-E815-4726-9857-703A9FD12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325" y="3217863"/>
              <a:ext cx="47625" cy="77788"/>
            </a:xfrm>
            <a:custGeom>
              <a:avLst/>
              <a:gdLst>
                <a:gd name="T0" fmla="*/ 0 w 151"/>
                <a:gd name="T1" fmla="*/ 164 h 249"/>
                <a:gd name="T2" fmla="*/ 1 w 151"/>
                <a:gd name="T3" fmla="*/ 167 h 249"/>
                <a:gd name="T4" fmla="*/ 2 w 151"/>
                <a:gd name="T5" fmla="*/ 171 h 249"/>
                <a:gd name="T6" fmla="*/ 5 w 151"/>
                <a:gd name="T7" fmla="*/ 175 h 249"/>
                <a:gd name="T8" fmla="*/ 8 w 151"/>
                <a:gd name="T9" fmla="*/ 177 h 249"/>
                <a:gd name="T10" fmla="*/ 151 w 151"/>
                <a:gd name="T11" fmla="*/ 249 h 249"/>
                <a:gd name="T12" fmla="*/ 151 w 151"/>
                <a:gd name="T13" fmla="*/ 67 h 249"/>
                <a:gd name="T14" fmla="*/ 0 w 151"/>
                <a:gd name="T15" fmla="*/ 0 h 249"/>
                <a:gd name="T16" fmla="*/ 0 w 151"/>
                <a:gd name="T17" fmla="*/ 16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249">
                  <a:moveTo>
                    <a:pt x="0" y="164"/>
                  </a:moveTo>
                  <a:lnTo>
                    <a:pt x="1" y="167"/>
                  </a:lnTo>
                  <a:lnTo>
                    <a:pt x="2" y="171"/>
                  </a:lnTo>
                  <a:lnTo>
                    <a:pt x="5" y="175"/>
                  </a:lnTo>
                  <a:lnTo>
                    <a:pt x="8" y="177"/>
                  </a:lnTo>
                  <a:lnTo>
                    <a:pt x="151" y="249"/>
                  </a:lnTo>
                  <a:lnTo>
                    <a:pt x="151" y="67"/>
                  </a:lnTo>
                  <a:lnTo>
                    <a:pt x="0" y="0"/>
                  </a:lnTo>
                  <a:lnTo>
                    <a:pt x="0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79" name="Forma libre 623">
              <a:extLst>
                <a:ext uri="{FF2B5EF4-FFF2-40B4-BE49-F238E27FC236}">
                  <a16:creationId xmlns:a16="http://schemas.microsoft.com/office/drawing/2014/main" id="{8EE5335A-4B2B-4051-B832-924E8362F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288" y="3201988"/>
              <a:ext cx="144463" cy="47625"/>
            </a:xfrm>
            <a:custGeom>
              <a:avLst/>
              <a:gdLst>
                <a:gd name="T0" fmla="*/ 231 w 452"/>
                <a:gd name="T1" fmla="*/ 2 h 151"/>
                <a:gd name="T2" fmla="*/ 225 w 452"/>
                <a:gd name="T3" fmla="*/ 0 h 151"/>
                <a:gd name="T4" fmla="*/ 221 w 452"/>
                <a:gd name="T5" fmla="*/ 2 h 151"/>
                <a:gd name="T6" fmla="*/ 0 w 452"/>
                <a:gd name="T7" fmla="*/ 70 h 151"/>
                <a:gd name="T8" fmla="*/ 225 w 452"/>
                <a:gd name="T9" fmla="*/ 151 h 151"/>
                <a:gd name="T10" fmla="*/ 452 w 452"/>
                <a:gd name="T11" fmla="*/ 70 h 151"/>
                <a:gd name="T12" fmla="*/ 231 w 452"/>
                <a:gd name="T13" fmla="*/ 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2" h="151">
                  <a:moveTo>
                    <a:pt x="231" y="2"/>
                  </a:moveTo>
                  <a:lnTo>
                    <a:pt x="225" y="0"/>
                  </a:lnTo>
                  <a:lnTo>
                    <a:pt x="221" y="2"/>
                  </a:lnTo>
                  <a:lnTo>
                    <a:pt x="0" y="70"/>
                  </a:lnTo>
                  <a:lnTo>
                    <a:pt x="225" y="151"/>
                  </a:lnTo>
                  <a:lnTo>
                    <a:pt x="452" y="70"/>
                  </a:lnTo>
                  <a:lnTo>
                    <a:pt x="23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80" name="Forma libre 624">
              <a:extLst>
                <a:ext uri="{FF2B5EF4-FFF2-40B4-BE49-F238E27FC236}">
                  <a16:creationId xmlns:a16="http://schemas.microsoft.com/office/drawing/2014/main" id="{B60B596C-85C7-4E96-8284-FA8EFEC3D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3230563"/>
              <a:ext cx="76200" cy="123825"/>
            </a:xfrm>
            <a:custGeom>
              <a:avLst/>
              <a:gdLst>
                <a:gd name="T0" fmla="*/ 0 w 240"/>
                <a:gd name="T1" fmla="*/ 285 h 386"/>
                <a:gd name="T2" fmla="*/ 1 w 240"/>
                <a:gd name="T3" fmla="*/ 289 h 386"/>
                <a:gd name="T4" fmla="*/ 2 w 240"/>
                <a:gd name="T5" fmla="*/ 294 h 386"/>
                <a:gd name="T6" fmla="*/ 5 w 240"/>
                <a:gd name="T7" fmla="*/ 297 h 386"/>
                <a:gd name="T8" fmla="*/ 10 w 240"/>
                <a:gd name="T9" fmla="*/ 299 h 386"/>
                <a:gd name="T10" fmla="*/ 240 w 240"/>
                <a:gd name="T11" fmla="*/ 386 h 386"/>
                <a:gd name="T12" fmla="*/ 240 w 240"/>
                <a:gd name="T13" fmla="*/ 84 h 386"/>
                <a:gd name="T14" fmla="*/ 0 w 240"/>
                <a:gd name="T15" fmla="*/ 0 h 386"/>
                <a:gd name="T16" fmla="*/ 0 w 240"/>
                <a:gd name="T17" fmla="*/ 2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386">
                  <a:moveTo>
                    <a:pt x="0" y="285"/>
                  </a:moveTo>
                  <a:lnTo>
                    <a:pt x="1" y="289"/>
                  </a:lnTo>
                  <a:lnTo>
                    <a:pt x="2" y="294"/>
                  </a:lnTo>
                  <a:lnTo>
                    <a:pt x="5" y="297"/>
                  </a:lnTo>
                  <a:lnTo>
                    <a:pt x="10" y="299"/>
                  </a:lnTo>
                  <a:lnTo>
                    <a:pt x="240" y="386"/>
                  </a:lnTo>
                  <a:lnTo>
                    <a:pt x="240" y="84"/>
                  </a:lnTo>
                  <a:lnTo>
                    <a:pt x="0" y="0"/>
                  </a:lnTo>
                  <a:lnTo>
                    <a:pt x="0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  <p:sp>
          <p:nvSpPr>
            <p:cNvPr id="81" name="Forma libre 625">
              <a:extLst>
                <a:ext uri="{FF2B5EF4-FFF2-40B4-BE49-F238E27FC236}">
                  <a16:creationId xmlns:a16="http://schemas.microsoft.com/office/drawing/2014/main" id="{121DC28D-617F-4ADC-87B3-2C09254FC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3230563"/>
              <a:ext cx="76200" cy="123825"/>
            </a:xfrm>
            <a:custGeom>
              <a:avLst/>
              <a:gdLst>
                <a:gd name="T0" fmla="*/ 0 w 241"/>
                <a:gd name="T1" fmla="*/ 386 h 386"/>
                <a:gd name="T2" fmla="*/ 231 w 241"/>
                <a:gd name="T3" fmla="*/ 299 h 386"/>
                <a:gd name="T4" fmla="*/ 235 w 241"/>
                <a:gd name="T5" fmla="*/ 297 h 386"/>
                <a:gd name="T6" fmla="*/ 238 w 241"/>
                <a:gd name="T7" fmla="*/ 294 h 386"/>
                <a:gd name="T8" fmla="*/ 239 w 241"/>
                <a:gd name="T9" fmla="*/ 289 h 386"/>
                <a:gd name="T10" fmla="*/ 241 w 241"/>
                <a:gd name="T11" fmla="*/ 285 h 386"/>
                <a:gd name="T12" fmla="*/ 241 w 241"/>
                <a:gd name="T13" fmla="*/ 0 h 386"/>
                <a:gd name="T14" fmla="*/ 0 w 241"/>
                <a:gd name="T15" fmla="*/ 84 h 386"/>
                <a:gd name="T16" fmla="*/ 0 w 241"/>
                <a:gd name="T17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1" h="386">
                  <a:moveTo>
                    <a:pt x="0" y="386"/>
                  </a:moveTo>
                  <a:lnTo>
                    <a:pt x="231" y="299"/>
                  </a:lnTo>
                  <a:lnTo>
                    <a:pt x="235" y="297"/>
                  </a:lnTo>
                  <a:lnTo>
                    <a:pt x="238" y="294"/>
                  </a:lnTo>
                  <a:lnTo>
                    <a:pt x="239" y="289"/>
                  </a:lnTo>
                  <a:lnTo>
                    <a:pt x="241" y="285"/>
                  </a:lnTo>
                  <a:lnTo>
                    <a:pt x="241" y="0"/>
                  </a:lnTo>
                  <a:lnTo>
                    <a:pt x="0" y="84"/>
                  </a:lnTo>
                  <a:lnTo>
                    <a:pt x="0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s-ES" sz="1620"/>
            </a:p>
          </p:txBody>
        </p:sp>
      </p:grpSp>
      <p:sp>
        <p:nvSpPr>
          <p:cNvPr id="82" name="86 CuadroTexto">
            <a:extLst>
              <a:ext uri="{FF2B5EF4-FFF2-40B4-BE49-F238E27FC236}">
                <a16:creationId xmlns:a16="http://schemas.microsoft.com/office/drawing/2014/main" id="{16E43A29-3A2B-4358-B2CD-F5180530F339}"/>
              </a:ext>
            </a:extLst>
          </p:cNvPr>
          <p:cNvSpPr txBox="1"/>
          <p:nvPr userDrawn="1"/>
        </p:nvSpPr>
        <p:spPr>
          <a:xfrm>
            <a:off x="6987376" y="485070"/>
            <a:ext cx="5237189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marR="0" lvl="0" indent="0" algn="ctr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kern="0">
                <a:solidFill>
                  <a:srgbClr val="323F4F"/>
                </a:solidFill>
                <a:latin typeface="Flexo" pitchFamily="50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PE" sz="810" b="1"/>
              <a:t>Etapa: </a:t>
            </a:r>
            <a:r>
              <a:rPr lang="es-PE" sz="810"/>
              <a:t>(Ex) = Exploración  |  (M) = Maduración  |  (P) = Planificación  |  (E) = Ejecución  |  (C) = Cierre</a:t>
            </a:r>
          </a:p>
        </p:txBody>
      </p:sp>
    </p:spTree>
    <p:extLst>
      <p:ext uri="{BB962C8B-B14F-4D97-AF65-F5344CB8AC3E}">
        <p14:creationId xmlns:p14="http://schemas.microsoft.com/office/powerpoint/2010/main" val="312730108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79" y="101900"/>
            <a:ext cx="11860664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9CED1FD3-6F8C-41F3-A722-8D849376F6B2}"/>
              </a:ext>
            </a:extLst>
          </p:cNvPr>
          <p:cNvSpPr/>
          <p:nvPr userDrawn="1"/>
        </p:nvSpPr>
        <p:spPr>
          <a:xfrm>
            <a:off x="9645" y="662118"/>
            <a:ext cx="1309224" cy="5897648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72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9CA4A21D-F929-43DE-B86A-C38CF6D538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110" y="5194037"/>
            <a:ext cx="578296" cy="542107"/>
          </a:xfrm>
          <a:prstGeom prst="rect">
            <a:avLst/>
          </a:prstGeom>
        </p:spPr>
      </p:pic>
      <p:sp>
        <p:nvSpPr>
          <p:cNvPr id="8" name="Shape 552">
            <a:extLst>
              <a:ext uri="{FF2B5EF4-FFF2-40B4-BE49-F238E27FC236}">
                <a16:creationId xmlns:a16="http://schemas.microsoft.com/office/drawing/2014/main" id="{42959B1E-294D-44A5-BFFA-6D3515501A5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7812" y="3509235"/>
            <a:ext cx="552891" cy="421112"/>
          </a:xfrm>
          <a:custGeom>
            <a:avLst/>
            <a:gdLst>
              <a:gd name="T0" fmla="*/ 2147483646 w 16266"/>
              <a:gd name="T1" fmla="*/ 2147483646 h 14215"/>
              <a:gd name="T2" fmla="*/ 2147483646 w 16266"/>
              <a:gd name="T3" fmla="*/ 2147483646 h 14215"/>
              <a:gd name="T4" fmla="*/ 2147483646 w 16266"/>
              <a:gd name="T5" fmla="*/ 2147483646 h 14215"/>
              <a:gd name="T6" fmla="*/ 2147483646 w 16266"/>
              <a:gd name="T7" fmla="*/ 2147483646 h 14215"/>
              <a:gd name="T8" fmla="*/ 2147483646 w 16266"/>
              <a:gd name="T9" fmla="*/ 2147483646 h 14215"/>
              <a:gd name="T10" fmla="*/ 2147483646 w 16266"/>
              <a:gd name="T11" fmla="*/ 2147483646 h 14215"/>
              <a:gd name="T12" fmla="*/ 2147483646 w 16266"/>
              <a:gd name="T13" fmla="*/ 2147483646 h 14215"/>
              <a:gd name="T14" fmla="*/ 2147483646 w 16266"/>
              <a:gd name="T15" fmla="*/ 2147483646 h 14215"/>
              <a:gd name="T16" fmla="*/ 2147483646 w 16266"/>
              <a:gd name="T17" fmla="*/ 2147483646 h 14215"/>
              <a:gd name="T18" fmla="*/ 2147483646 w 16266"/>
              <a:gd name="T19" fmla="*/ 2147483646 h 14215"/>
              <a:gd name="T20" fmla="*/ 2147483646 w 16266"/>
              <a:gd name="T21" fmla="*/ 2147483646 h 14215"/>
              <a:gd name="T22" fmla="*/ 2147483646 w 16266"/>
              <a:gd name="T23" fmla="*/ 2147483646 h 14215"/>
              <a:gd name="T24" fmla="*/ 2147483646 w 16266"/>
              <a:gd name="T25" fmla="*/ 2147483646 h 14215"/>
              <a:gd name="T26" fmla="*/ 2147483646 w 16266"/>
              <a:gd name="T27" fmla="*/ 2147483646 h 14215"/>
              <a:gd name="T28" fmla="*/ 2147483646 w 16266"/>
              <a:gd name="T29" fmla="*/ 2147483646 h 14215"/>
              <a:gd name="T30" fmla="*/ 2147483646 w 16266"/>
              <a:gd name="T31" fmla="*/ 2147483646 h 14215"/>
              <a:gd name="T32" fmla="*/ 2147483646 w 16266"/>
              <a:gd name="T33" fmla="*/ 2147483646 h 14215"/>
              <a:gd name="T34" fmla="*/ 2147483646 w 16266"/>
              <a:gd name="T35" fmla="*/ 2147483646 h 14215"/>
              <a:gd name="T36" fmla="*/ 2147483646 w 16266"/>
              <a:gd name="T37" fmla="*/ 2147483646 h 14215"/>
              <a:gd name="T38" fmla="*/ 2147483646 w 16266"/>
              <a:gd name="T39" fmla="*/ 2147483646 h 14215"/>
              <a:gd name="T40" fmla="*/ 2147483646 w 16266"/>
              <a:gd name="T41" fmla="*/ 2147483646 h 14215"/>
              <a:gd name="T42" fmla="*/ 2147483646 w 16266"/>
              <a:gd name="T43" fmla="*/ 2147483646 h 14215"/>
              <a:gd name="T44" fmla="*/ 2147483646 w 16266"/>
              <a:gd name="T45" fmla="*/ 2147483646 h 14215"/>
              <a:gd name="T46" fmla="*/ 2147483646 w 16266"/>
              <a:gd name="T47" fmla="*/ 2147483646 h 14215"/>
              <a:gd name="T48" fmla="*/ 2147483646 w 16266"/>
              <a:gd name="T49" fmla="*/ 2147483646 h 14215"/>
              <a:gd name="T50" fmla="*/ 2147483646 w 16266"/>
              <a:gd name="T51" fmla="*/ 2147483646 h 14215"/>
              <a:gd name="T52" fmla="*/ 2147483646 w 16266"/>
              <a:gd name="T53" fmla="*/ 2147483646 h 14215"/>
              <a:gd name="T54" fmla="*/ 2147483646 w 16266"/>
              <a:gd name="T55" fmla="*/ 2147483646 h 14215"/>
              <a:gd name="T56" fmla="*/ 2147483646 w 16266"/>
              <a:gd name="T57" fmla="*/ 2147483646 h 14215"/>
              <a:gd name="T58" fmla="*/ 2147483646 w 16266"/>
              <a:gd name="T59" fmla="*/ 2147483646 h 14215"/>
              <a:gd name="T60" fmla="*/ 2147483646 w 16266"/>
              <a:gd name="T61" fmla="*/ 2147483646 h 14215"/>
              <a:gd name="T62" fmla="*/ 2147483646 w 16266"/>
              <a:gd name="T63" fmla="*/ 2147483646 h 14215"/>
              <a:gd name="T64" fmla="*/ 2147483646 w 16266"/>
              <a:gd name="T65" fmla="*/ 2147483646 h 14215"/>
              <a:gd name="T66" fmla="*/ 2147483646 w 16266"/>
              <a:gd name="T67" fmla="*/ 2147483646 h 14215"/>
              <a:gd name="T68" fmla="*/ 2147483646 w 16266"/>
              <a:gd name="T69" fmla="*/ 2147483646 h 14215"/>
              <a:gd name="T70" fmla="*/ 2147483646 w 16266"/>
              <a:gd name="T71" fmla="*/ 2147483646 h 14215"/>
              <a:gd name="T72" fmla="*/ 2147483646 w 16266"/>
              <a:gd name="T73" fmla="*/ 2147483646 h 14215"/>
              <a:gd name="T74" fmla="*/ 2147483646 w 16266"/>
              <a:gd name="T75" fmla="*/ 2147483646 h 14215"/>
              <a:gd name="T76" fmla="*/ 2147483646 w 16266"/>
              <a:gd name="T77" fmla="*/ 2147483646 h 14215"/>
              <a:gd name="T78" fmla="*/ 0 w 16266"/>
              <a:gd name="T79" fmla="*/ 2147483646 h 14215"/>
              <a:gd name="T80" fmla="*/ 0 w 16266"/>
              <a:gd name="T81" fmla="*/ 2147483646 h 14215"/>
              <a:gd name="T82" fmla="*/ 2147483646 w 16266"/>
              <a:gd name="T83" fmla="*/ 2147483646 h 14215"/>
              <a:gd name="T84" fmla="*/ 2147483646 w 16266"/>
              <a:gd name="T85" fmla="*/ 2147483646 h 14215"/>
              <a:gd name="T86" fmla="*/ 2147483646 w 16266"/>
              <a:gd name="T87" fmla="*/ 2147483646 h 14215"/>
              <a:gd name="T88" fmla="*/ 2147483646 w 16266"/>
              <a:gd name="T89" fmla="*/ 2147483646 h 14215"/>
              <a:gd name="T90" fmla="*/ 2147483646 w 16266"/>
              <a:gd name="T91" fmla="*/ 2147483646 h 14215"/>
              <a:gd name="T92" fmla="*/ 2147483646 w 16266"/>
              <a:gd name="T93" fmla="*/ 2147483646 h 14215"/>
              <a:gd name="T94" fmla="*/ 2147483646 w 16266"/>
              <a:gd name="T95" fmla="*/ 2147483646 h 14215"/>
              <a:gd name="T96" fmla="*/ 2147483646 w 16266"/>
              <a:gd name="T97" fmla="*/ 2147483646 h 14215"/>
              <a:gd name="T98" fmla="*/ 2147483646 w 16266"/>
              <a:gd name="T99" fmla="*/ 2147483646 h 14215"/>
              <a:gd name="T100" fmla="*/ 2147483646 w 16266"/>
              <a:gd name="T101" fmla="*/ 2147483646 h 14215"/>
              <a:gd name="T102" fmla="*/ 2147483646 w 16266"/>
              <a:gd name="T103" fmla="*/ 2147483646 h 14215"/>
              <a:gd name="T104" fmla="*/ 2147483646 w 16266"/>
              <a:gd name="T105" fmla="*/ 2147483646 h 14215"/>
              <a:gd name="T106" fmla="*/ 2147483646 w 16266"/>
              <a:gd name="T107" fmla="*/ 2147483646 h 14215"/>
              <a:gd name="T108" fmla="*/ 2147483646 w 16266"/>
              <a:gd name="T109" fmla="*/ 2147483646 h 14215"/>
              <a:gd name="T110" fmla="*/ 2147483646 w 16266"/>
              <a:gd name="T111" fmla="*/ 2147483646 h 14215"/>
              <a:gd name="T112" fmla="*/ 2147483646 w 16266"/>
              <a:gd name="T113" fmla="*/ 2147483646 h 14215"/>
              <a:gd name="T114" fmla="*/ 2147483646 w 16266"/>
              <a:gd name="T115" fmla="*/ 0 h 1421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6266"/>
              <a:gd name="T175" fmla="*/ 0 h 14215"/>
              <a:gd name="T176" fmla="*/ 16266 w 16266"/>
              <a:gd name="T177" fmla="*/ 14215 h 14215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6266" h="14215" extrusionOk="0">
                <a:moveTo>
                  <a:pt x="8597" y="4397"/>
                </a:moveTo>
                <a:lnTo>
                  <a:pt x="8719" y="4421"/>
                </a:lnTo>
                <a:lnTo>
                  <a:pt x="8866" y="4445"/>
                </a:lnTo>
                <a:lnTo>
                  <a:pt x="8988" y="4519"/>
                </a:lnTo>
                <a:lnTo>
                  <a:pt x="9085" y="4616"/>
                </a:lnTo>
                <a:lnTo>
                  <a:pt x="9159" y="4714"/>
                </a:lnTo>
                <a:lnTo>
                  <a:pt x="9208" y="4836"/>
                </a:lnTo>
                <a:lnTo>
                  <a:pt x="9232" y="4958"/>
                </a:lnTo>
                <a:lnTo>
                  <a:pt x="9256" y="5105"/>
                </a:lnTo>
                <a:lnTo>
                  <a:pt x="8963" y="8939"/>
                </a:lnTo>
                <a:lnTo>
                  <a:pt x="8939" y="9086"/>
                </a:lnTo>
                <a:lnTo>
                  <a:pt x="8890" y="9232"/>
                </a:lnTo>
                <a:lnTo>
                  <a:pt x="8817" y="9330"/>
                </a:lnTo>
                <a:lnTo>
                  <a:pt x="8719" y="9452"/>
                </a:lnTo>
                <a:lnTo>
                  <a:pt x="8597" y="9525"/>
                </a:lnTo>
                <a:lnTo>
                  <a:pt x="8475" y="9599"/>
                </a:lnTo>
                <a:lnTo>
                  <a:pt x="8353" y="9648"/>
                </a:lnTo>
                <a:lnTo>
                  <a:pt x="7913" y="9648"/>
                </a:lnTo>
                <a:lnTo>
                  <a:pt x="7791" y="9599"/>
                </a:lnTo>
                <a:lnTo>
                  <a:pt x="7669" y="9525"/>
                </a:lnTo>
                <a:lnTo>
                  <a:pt x="7547" y="9452"/>
                </a:lnTo>
                <a:lnTo>
                  <a:pt x="7449" y="9330"/>
                </a:lnTo>
                <a:lnTo>
                  <a:pt x="7376" y="9232"/>
                </a:lnTo>
                <a:lnTo>
                  <a:pt x="7327" y="9086"/>
                </a:lnTo>
                <a:lnTo>
                  <a:pt x="7303" y="8939"/>
                </a:lnTo>
                <a:lnTo>
                  <a:pt x="7010" y="5105"/>
                </a:lnTo>
                <a:lnTo>
                  <a:pt x="7034" y="4958"/>
                </a:lnTo>
                <a:lnTo>
                  <a:pt x="7058" y="4836"/>
                </a:lnTo>
                <a:lnTo>
                  <a:pt x="7107" y="4714"/>
                </a:lnTo>
                <a:lnTo>
                  <a:pt x="7180" y="4616"/>
                </a:lnTo>
                <a:lnTo>
                  <a:pt x="7278" y="4519"/>
                </a:lnTo>
                <a:lnTo>
                  <a:pt x="7400" y="4445"/>
                </a:lnTo>
                <a:lnTo>
                  <a:pt x="7547" y="4421"/>
                </a:lnTo>
                <a:lnTo>
                  <a:pt x="7669" y="4397"/>
                </a:lnTo>
                <a:lnTo>
                  <a:pt x="8597" y="4397"/>
                </a:lnTo>
                <a:close/>
                <a:moveTo>
                  <a:pt x="8133" y="10429"/>
                </a:moveTo>
                <a:lnTo>
                  <a:pt x="8328" y="10454"/>
                </a:lnTo>
                <a:lnTo>
                  <a:pt x="8499" y="10502"/>
                </a:lnTo>
                <a:lnTo>
                  <a:pt x="8670" y="10600"/>
                </a:lnTo>
                <a:lnTo>
                  <a:pt x="8817" y="10722"/>
                </a:lnTo>
                <a:lnTo>
                  <a:pt x="8939" y="10869"/>
                </a:lnTo>
                <a:lnTo>
                  <a:pt x="9037" y="11040"/>
                </a:lnTo>
                <a:lnTo>
                  <a:pt x="9085" y="11211"/>
                </a:lnTo>
                <a:lnTo>
                  <a:pt x="9110" y="11406"/>
                </a:lnTo>
                <a:lnTo>
                  <a:pt x="9085" y="11601"/>
                </a:lnTo>
                <a:lnTo>
                  <a:pt x="9037" y="11797"/>
                </a:lnTo>
                <a:lnTo>
                  <a:pt x="8939" y="11943"/>
                </a:lnTo>
                <a:lnTo>
                  <a:pt x="8817" y="12090"/>
                </a:lnTo>
                <a:lnTo>
                  <a:pt x="8670" y="12212"/>
                </a:lnTo>
                <a:lnTo>
                  <a:pt x="8499" y="12310"/>
                </a:lnTo>
                <a:lnTo>
                  <a:pt x="8328" y="12359"/>
                </a:lnTo>
                <a:lnTo>
                  <a:pt x="8133" y="12383"/>
                </a:lnTo>
                <a:lnTo>
                  <a:pt x="7938" y="12359"/>
                </a:lnTo>
                <a:lnTo>
                  <a:pt x="7742" y="12310"/>
                </a:lnTo>
                <a:lnTo>
                  <a:pt x="7596" y="12212"/>
                </a:lnTo>
                <a:lnTo>
                  <a:pt x="7449" y="12090"/>
                </a:lnTo>
                <a:lnTo>
                  <a:pt x="7327" y="11943"/>
                </a:lnTo>
                <a:lnTo>
                  <a:pt x="7229" y="11797"/>
                </a:lnTo>
                <a:lnTo>
                  <a:pt x="7180" y="11601"/>
                </a:lnTo>
                <a:lnTo>
                  <a:pt x="7156" y="11406"/>
                </a:lnTo>
                <a:lnTo>
                  <a:pt x="7180" y="11211"/>
                </a:lnTo>
                <a:lnTo>
                  <a:pt x="7229" y="11040"/>
                </a:lnTo>
                <a:lnTo>
                  <a:pt x="7327" y="10869"/>
                </a:lnTo>
                <a:lnTo>
                  <a:pt x="7449" y="10722"/>
                </a:lnTo>
                <a:lnTo>
                  <a:pt x="7596" y="10600"/>
                </a:lnTo>
                <a:lnTo>
                  <a:pt x="7742" y="10502"/>
                </a:lnTo>
                <a:lnTo>
                  <a:pt x="7938" y="10454"/>
                </a:lnTo>
                <a:lnTo>
                  <a:pt x="8133" y="10429"/>
                </a:lnTo>
                <a:close/>
                <a:moveTo>
                  <a:pt x="7986" y="0"/>
                </a:moveTo>
                <a:lnTo>
                  <a:pt x="7864" y="25"/>
                </a:lnTo>
                <a:lnTo>
                  <a:pt x="7742" y="74"/>
                </a:lnTo>
                <a:lnTo>
                  <a:pt x="7620" y="123"/>
                </a:lnTo>
                <a:lnTo>
                  <a:pt x="7522" y="196"/>
                </a:lnTo>
                <a:lnTo>
                  <a:pt x="7425" y="294"/>
                </a:lnTo>
                <a:lnTo>
                  <a:pt x="7327" y="391"/>
                </a:lnTo>
                <a:lnTo>
                  <a:pt x="7254" y="489"/>
                </a:lnTo>
                <a:lnTo>
                  <a:pt x="147" y="12700"/>
                </a:lnTo>
                <a:lnTo>
                  <a:pt x="73" y="12823"/>
                </a:lnTo>
                <a:lnTo>
                  <a:pt x="25" y="12945"/>
                </a:lnTo>
                <a:lnTo>
                  <a:pt x="0" y="13067"/>
                </a:lnTo>
                <a:lnTo>
                  <a:pt x="0" y="13213"/>
                </a:lnTo>
                <a:lnTo>
                  <a:pt x="0" y="13335"/>
                </a:lnTo>
                <a:lnTo>
                  <a:pt x="25" y="13458"/>
                </a:lnTo>
                <a:lnTo>
                  <a:pt x="73" y="13604"/>
                </a:lnTo>
                <a:lnTo>
                  <a:pt x="147" y="13726"/>
                </a:lnTo>
                <a:lnTo>
                  <a:pt x="220" y="13824"/>
                </a:lnTo>
                <a:lnTo>
                  <a:pt x="293" y="13922"/>
                </a:lnTo>
                <a:lnTo>
                  <a:pt x="391" y="14019"/>
                </a:lnTo>
                <a:lnTo>
                  <a:pt x="513" y="14093"/>
                </a:lnTo>
                <a:lnTo>
                  <a:pt x="635" y="14141"/>
                </a:lnTo>
                <a:lnTo>
                  <a:pt x="757" y="14190"/>
                </a:lnTo>
                <a:lnTo>
                  <a:pt x="879" y="14215"/>
                </a:lnTo>
                <a:lnTo>
                  <a:pt x="15387" y="14215"/>
                </a:lnTo>
                <a:lnTo>
                  <a:pt x="15509" y="14190"/>
                </a:lnTo>
                <a:lnTo>
                  <a:pt x="15631" y="14141"/>
                </a:lnTo>
                <a:lnTo>
                  <a:pt x="15753" y="14093"/>
                </a:lnTo>
                <a:lnTo>
                  <a:pt x="15875" y="14019"/>
                </a:lnTo>
                <a:lnTo>
                  <a:pt x="15973" y="13922"/>
                </a:lnTo>
                <a:lnTo>
                  <a:pt x="16046" y="13824"/>
                </a:lnTo>
                <a:lnTo>
                  <a:pt x="16119" y="13726"/>
                </a:lnTo>
                <a:lnTo>
                  <a:pt x="16193" y="13604"/>
                </a:lnTo>
                <a:lnTo>
                  <a:pt x="16241" y="13458"/>
                </a:lnTo>
                <a:lnTo>
                  <a:pt x="16266" y="13335"/>
                </a:lnTo>
                <a:lnTo>
                  <a:pt x="16266" y="13213"/>
                </a:lnTo>
                <a:lnTo>
                  <a:pt x="16266" y="13067"/>
                </a:lnTo>
                <a:lnTo>
                  <a:pt x="16241" y="12945"/>
                </a:lnTo>
                <a:lnTo>
                  <a:pt x="16193" y="12823"/>
                </a:lnTo>
                <a:lnTo>
                  <a:pt x="16119" y="12700"/>
                </a:lnTo>
                <a:lnTo>
                  <a:pt x="9012" y="489"/>
                </a:lnTo>
                <a:lnTo>
                  <a:pt x="8939" y="391"/>
                </a:lnTo>
                <a:lnTo>
                  <a:pt x="8841" y="294"/>
                </a:lnTo>
                <a:lnTo>
                  <a:pt x="8744" y="196"/>
                </a:lnTo>
                <a:lnTo>
                  <a:pt x="8646" y="123"/>
                </a:lnTo>
                <a:lnTo>
                  <a:pt x="8524" y="74"/>
                </a:lnTo>
                <a:lnTo>
                  <a:pt x="8402" y="25"/>
                </a:lnTo>
                <a:lnTo>
                  <a:pt x="8255" y="0"/>
                </a:lnTo>
                <a:lnTo>
                  <a:pt x="7986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lIns="82265" tIns="82265" rIns="82265" bIns="82265" anchor="ctr"/>
          <a:lstStyle/>
          <a:p>
            <a:pPr marL="0" marR="0" lvl="0" indent="0" algn="l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080" b="0" i="0" u="none" strike="noStrike" kern="120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B593565-EC3B-4287-9B39-70983CC5CFFF}"/>
              </a:ext>
            </a:extLst>
          </p:cNvPr>
          <p:cNvSpPr txBox="1"/>
          <p:nvPr userDrawn="1"/>
        </p:nvSpPr>
        <p:spPr>
          <a:xfrm>
            <a:off x="59533" y="3893141"/>
            <a:ext cx="12094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Riesgos/</a:t>
            </a:r>
          </a:p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Problemas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7EAE267-C756-434A-A123-6A8DEBEE827F}"/>
              </a:ext>
            </a:extLst>
          </p:cNvPr>
          <p:cNvSpPr txBox="1"/>
          <p:nvPr userDrawn="1"/>
        </p:nvSpPr>
        <p:spPr>
          <a:xfrm>
            <a:off x="59533" y="5820578"/>
            <a:ext cx="120944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Siguientes paso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F79CC2C-FCB8-4B04-A4DF-4A546FD56C36}"/>
              </a:ext>
            </a:extLst>
          </p:cNvPr>
          <p:cNvSpPr txBox="1"/>
          <p:nvPr userDrawn="1"/>
        </p:nvSpPr>
        <p:spPr>
          <a:xfrm>
            <a:off x="59533" y="1968330"/>
            <a:ext cx="120944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Alcance y avances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F557961-AB7C-4D81-AD2A-C37B226E71A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34225" y="1209413"/>
            <a:ext cx="1060067" cy="769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361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79" y="101900"/>
            <a:ext cx="11860664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9CED1FD3-6F8C-41F3-A722-8D849376F6B2}"/>
              </a:ext>
            </a:extLst>
          </p:cNvPr>
          <p:cNvSpPr/>
          <p:nvPr userDrawn="1"/>
        </p:nvSpPr>
        <p:spPr>
          <a:xfrm>
            <a:off x="9645" y="662118"/>
            <a:ext cx="1309224" cy="5897648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72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9CA4A21D-F929-43DE-B86A-C38CF6D538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110" y="5194037"/>
            <a:ext cx="578296" cy="542107"/>
          </a:xfrm>
          <a:prstGeom prst="rect">
            <a:avLst/>
          </a:prstGeom>
        </p:spPr>
      </p:pic>
      <p:sp>
        <p:nvSpPr>
          <p:cNvPr id="8" name="Shape 552">
            <a:extLst>
              <a:ext uri="{FF2B5EF4-FFF2-40B4-BE49-F238E27FC236}">
                <a16:creationId xmlns:a16="http://schemas.microsoft.com/office/drawing/2014/main" id="{42959B1E-294D-44A5-BFFA-6D3515501A5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7812" y="3509235"/>
            <a:ext cx="552891" cy="421112"/>
          </a:xfrm>
          <a:custGeom>
            <a:avLst/>
            <a:gdLst>
              <a:gd name="T0" fmla="*/ 2147483646 w 16266"/>
              <a:gd name="T1" fmla="*/ 2147483646 h 14215"/>
              <a:gd name="T2" fmla="*/ 2147483646 w 16266"/>
              <a:gd name="T3" fmla="*/ 2147483646 h 14215"/>
              <a:gd name="T4" fmla="*/ 2147483646 w 16266"/>
              <a:gd name="T5" fmla="*/ 2147483646 h 14215"/>
              <a:gd name="T6" fmla="*/ 2147483646 w 16266"/>
              <a:gd name="T7" fmla="*/ 2147483646 h 14215"/>
              <a:gd name="T8" fmla="*/ 2147483646 w 16266"/>
              <a:gd name="T9" fmla="*/ 2147483646 h 14215"/>
              <a:gd name="T10" fmla="*/ 2147483646 w 16266"/>
              <a:gd name="T11" fmla="*/ 2147483646 h 14215"/>
              <a:gd name="T12" fmla="*/ 2147483646 w 16266"/>
              <a:gd name="T13" fmla="*/ 2147483646 h 14215"/>
              <a:gd name="T14" fmla="*/ 2147483646 w 16266"/>
              <a:gd name="T15" fmla="*/ 2147483646 h 14215"/>
              <a:gd name="T16" fmla="*/ 2147483646 w 16266"/>
              <a:gd name="T17" fmla="*/ 2147483646 h 14215"/>
              <a:gd name="T18" fmla="*/ 2147483646 w 16266"/>
              <a:gd name="T19" fmla="*/ 2147483646 h 14215"/>
              <a:gd name="T20" fmla="*/ 2147483646 w 16266"/>
              <a:gd name="T21" fmla="*/ 2147483646 h 14215"/>
              <a:gd name="T22" fmla="*/ 2147483646 w 16266"/>
              <a:gd name="T23" fmla="*/ 2147483646 h 14215"/>
              <a:gd name="T24" fmla="*/ 2147483646 w 16266"/>
              <a:gd name="T25" fmla="*/ 2147483646 h 14215"/>
              <a:gd name="T26" fmla="*/ 2147483646 w 16266"/>
              <a:gd name="T27" fmla="*/ 2147483646 h 14215"/>
              <a:gd name="T28" fmla="*/ 2147483646 w 16266"/>
              <a:gd name="T29" fmla="*/ 2147483646 h 14215"/>
              <a:gd name="T30" fmla="*/ 2147483646 w 16266"/>
              <a:gd name="T31" fmla="*/ 2147483646 h 14215"/>
              <a:gd name="T32" fmla="*/ 2147483646 w 16266"/>
              <a:gd name="T33" fmla="*/ 2147483646 h 14215"/>
              <a:gd name="T34" fmla="*/ 2147483646 w 16266"/>
              <a:gd name="T35" fmla="*/ 2147483646 h 14215"/>
              <a:gd name="T36" fmla="*/ 2147483646 w 16266"/>
              <a:gd name="T37" fmla="*/ 2147483646 h 14215"/>
              <a:gd name="T38" fmla="*/ 2147483646 w 16266"/>
              <a:gd name="T39" fmla="*/ 2147483646 h 14215"/>
              <a:gd name="T40" fmla="*/ 2147483646 w 16266"/>
              <a:gd name="T41" fmla="*/ 2147483646 h 14215"/>
              <a:gd name="T42" fmla="*/ 2147483646 w 16266"/>
              <a:gd name="T43" fmla="*/ 2147483646 h 14215"/>
              <a:gd name="T44" fmla="*/ 2147483646 w 16266"/>
              <a:gd name="T45" fmla="*/ 2147483646 h 14215"/>
              <a:gd name="T46" fmla="*/ 2147483646 w 16266"/>
              <a:gd name="T47" fmla="*/ 2147483646 h 14215"/>
              <a:gd name="T48" fmla="*/ 2147483646 w 16266"/>
              <a:gd name="T49" fmla="*/ 2147483646 h 14215"/>
              <a:gd name="T50" fmla="*/ 2147483646 w 16266"/>
              <a:gd name="T51" fmla="*/ 2147483646 h 14215"/>
              <a:gd name="T52" fmla="*/ 2147483646 w 16266"/>
              <a:gd name="T53" fmla="*/ 2147483646 h 14215"/>
              <a:gd name="T54" fmla="*/ 2147483646 w 16266"/>
              <a:gd name="T55" fmla="*/ 2147483646 h 14215"/>
              <a:gd name="T56" fmla="*/ 2147483646 w 16266"/>
              <a:gd name="T57" fmla="*/ 2147483646 h 14215"/>
              <a:gd name="T58" fmla="*/ 2147483646 w 16266"/>
              <a:gd name="T59" fmla="*/ 2147483646 h 14215"/>
              <a:gd name="T60" fmla="*/ 2147483646 w 16266"/>
              <a:gd name="T61" fmla="*/ 2147483646 h 14215"/>
              <a:gd name="T62" fmla="*/ 2147483646 w 16266"/>
              <a:gd name="T63" fmla="*/ 2147483646 h 14215"/>
              <a:gd name="T64" fmla="*/ 2147483646 w 16266"/>
              <a:gd name="T65" fmla="*/ 2147483646 h 14215"/>
              <a:gd name="T66" fmla="*/ 2147483646 w 16266"/>
              <a:gd name="T67" fmla="*/ 2147483646 h 14215"/>
              <a:gd name="T68" fmla="*/ 2147483646 w 16266"/>
              <a:gd name="T69" fmla="*/ 2147483646 h 14215"/>
              <a:gd name="T70" fmla="*/ 2147483646 w 16266"/>
              <a:gd name="T71" fmla="*/ 2147483646 h 14215"/>
              <a:gd name="T72" fmla="*/ 2147483646 w 16266"/>
              <a:gd name="T73" fmla="*/ 2147483646 h 14215"/>
              <a:gd name="T74" fmla="*/ 2147483646 w 16266"/>
              <a:gd name="T75" fmla="*/ 2147483646 h 14215"/>
              <a:gd name="T76" fmla="*/ 2147483646 w 16266"/>
              <a:gd name="T77" fmla="*/ 2147483646 h 14215"/>
              <a:gd name="T78" fmla="*/ 0 w 16266"/>
              <a:gd name="T79" fmla="*/ 2147483646 h 14215"/>
              <a:gd name="T80" fmla="*/ 0 w 16266"/>
              <a:gd name="T81" fmla="*/ 2147483646 h 14215"/>
              <a:gd name="T82" fmla="*/ 2147483646 w 16266"/>
              <a:gd name="T83" fmla="*/ 2147483646 h 14215"/>
              <a:gd name="T84" fmla="*/ 2147483646 w 16266"/>
              <a:gd name="T85" fmla="*/ 2147483646 h 14215"/>
              <a:gd name="T86" fmla="*/ 2147483646 w 16266"/>
              <a:gd name="T87" fmla="*/ 2147483646 h 14215"/>
              <a:gd name="T88" fmla="*/ 2147483646 w 16266"/>
              <a:gd name="T89" fmla="*/ 2147483646 h 14215"/>
              <a:gd name="T90" fmla="*/ 2147483646 w 16266"/>
              <a:gd name="T91" fmla="*/ 2147483646 h 14215"/>
              <a:gd name="T92" fmla="*/ 2147483646 w 16266"/>
              <a:gd name="T93" fmla="*/ 2147483646 h 14215"/>
              <a:gd name="T94" fmla="*/ 2147483646 w 16266"/>
              <a:gd name="T95" fmla="*/ 2147483646 h 14215"/>
              <a:gd name="T96" fmla="*/ 2147483646 w 16266"/>
              <a:gd name="T97" fmla="*/ 2147483646 h 14215"/>
              <a:gd name="T98" fmla="*/ 2147483646 w 16266"/>
              <a:gd name="T99" fmla="*/ 2147483646 h 14215"/>
              <a:gd name="T100" fmla="*/ 2147483646 w 16266"/>
              <a:gd name="T101" fmla="*/ 2147483646 h 14215"/>
              <a:gd name="T102" fmla="*/ 2147483646 w 16266"/>
              <a:gd name="T103" fmla="*/ 2147483646 h 14215"/>
              <a:gd name="T104" fmla="*/ 2147483646 w 16266"/>
              <a:gd name="T105" fmla="*/ 2147483646 h 14215"/>
              <a:gd name="T106" fmla="*/ 2147483646 w 16266"/>
              <a:gd name="T107" fmla="*/ 2147483646 h 14215"/>
              <a:gd name="T108" fmla="*/ 2147483646 w 16266"/>
              <a:gd name="T109" fmla="*/ 2147483646 h 14215"/>
              <a:gd name="T110" fmla="*/ 2147483646 w 16266"/>
              <a:gd name="T111" fmla="*/ 2147483646 h 14215"/>
              <a:gd name="T112" fmla="*/ 2147483646 w 16266"/>
              <a:gd name="T113" fmla="*/ 2147483646 h 14215"/>
              <a:gd name="T114" fmla="*/ 2147483646 w 16266"/>
              <a:gd name="T115" fmla="*/ 0 h 1421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6266"/>
              <a:gd name="T175" fmla="*/ 0 h 14215"/>
              <a:gd name="T176" fmla="*/ 16266 w 16266"/>
              <a:gd name="T177" fmla="*/ 14215 h 14215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6266" h="14215" extrusionOk="0">
                <a:moveTo>
                  <a:pt x="8597" y="4397"/>
                </a:moveTo>
                <a:lnTo>
                  <a:pt x="8719" y="4421"/>
                </a:lnTo>
                <a:lnTo>
                  <a:pt x="8866" y="4445"/>
                </a:lnTo>
                <a:lnTo>
                  <a:pt x="8988" y="4519"/>
                </a:lnTo>
                <a:lnTo>
                  <a:pt x="9085" y="4616"/>
                </a:lnTo>
                <a:lnTo>
                  <a:pt x="9159" y="4714"/>
                </a:lnTo>
                <a:lnTo>
                  <a:pt x="9208" y="4836"/>
                </a:lnTo>
                <a:lnTo>
                  <a:pt x="9232" y="4958"/>
                </a:lnTo>
                <a:lnTo>
                  <a:pt x="9256" y="5105"/>
                </a:lnTo>
                <a:lnTo>
                  <a:pt x="8963" y="8939"/>
                </a:lnTo>
                <a:lnTo>
                  <a:pt x="8939" y="9086"/>
                </a:lnTo>
                <a:lnTo>
                  <a:pt x="8890" y="9232"/>
                </a:lnTo>
                <a:lnTo>
                  <a:pt x="8817" y="9330"/>
                </a:lnTo>
                <a:lnTo>
                  <a:pt x="8719" y="9452"/>
                </a:lnTo>
                <a:lnTo>
                  <a:pt x="8597" y="9525"/>
                </a:lnTo>
                <a:lnTo>
                  <a:pt x="8475" y="9599"/>
                </a:lnTo>
                <a:lnTo>
                  <a:pt x="8353" y="9648"/>
                </a:lnTo>
                <a:lnTo>
                  <a:pt x="7913" y="9648"/>
                </a:lnTo>
                <a:lnTo>
                  <a:pt x="7791" y="9599"/>
                </a:lnTo>
                <a:lnTo>
                  <a:pt x="7669" y="9525"/>
                </a:lnTo>
                <a:lnTo>
                  <a:pt x="7547" y="9452"/>
                </a:lnTo>
                <a:lnTo>
                  <a:pt x="7449" y="9330"/>
                </a:lnTo>
                <a:lnTo>
                  <a:pt x="7376" y="9232"/>
                </a:lnTo>
                <a:lnTo>
                  <a:pt x="7327" y="9086"/>
                </a:lnTo>
                <a:lnTo>
                  <a:pt x="7303" y="8939"/>
                </a:lnTo>
                <a:lnTo>
                  <a:pt x="7010" y="5105"/>
                </a:lnTo>
                <a:lnTo>
                  <a:pt x="7034" y="4958"/>
                </a:lnTo>
                <a:lnTo>
                  <a:pt x="7058" y="4836"/>
                </a:lnTo>
                <a:lnTo>
                  <a:pt x="7107" y="4714"/>
                </a:lnTo>
                <a:lnTo>
                  <a:pt x="7180" y="4616"/>
                </a:lnTo>
                <a:lnTo>
                  <a:pt x="7278" y="4519"/>
                </a:lnTo>
                <a:lnTo>
                  <a:pt x="7400" y="4445"/>
                </a:lnTo>
                <a:lnTo>
                  <a:pt x="7547" y="4421"/>
                </a:lnTo>
                <a:lnTo>
                  <a:pt x="7669" y="4397"/>
                </a:lnTo>
                <a:lnTo>
                  <a:pt x="8597" y="4397"/>
                </a:lnTo>
                <a:close/>
                <a:moveTo>
                  <a:pt x="8133" y="10429"/>
                </a:moveTo>
                <a:lnTo>
                  <a:pt x="8328" y="10454"/>
                </a:lnTo>
                <a:lnTo>
                  <a:pt x="8499" y="10502"/>
                </a:lnTo>
                <a:lnTo>
                  <a:pt x="8670" y="10600"/>
                </a:lnTo>
                <a:lnTo>
                  <a:pt x="8817" y="10722"/>
                </a:lnTo>
                <a:lnTo>
                  <a:pt x="8939" y="10869"/>
                </a:lnTo>
                <a:lnTo>
                  <a:pt x="9037" y="11040"/>
                </a:lnTo>
                <a:lnTo>
                  <a:pt x="9085" y="11211"/>
                </a:lnTo>
                <a:lnTo>
                  <a:pt x="9110" y="11406"/>
                </a:lnTo>
                <a:lnTo>
                  <a:pt x="9085" y="11601"/>
                </a:lnTo>
                <a:lnTo>
                  <a:pt x="9037" y="11797"/>
                </a:lnTo>
                <a:lnTo>
                  <a:pt x="8939" y="11943"/>
                </a:lnTo>
                <a:lnTo>
                  <a:pt x="8817" y="12090"/>
                </a:lnTo>
                <a:lnTo>
                  <a:pt x="8670" y="12212"/>
                </a:lnTo>
                <a:lnTo>
                  <a:pt x="8499" y="12310"/>
                </a:lnTo>
                <a:lnTo>
                  <a:pt x="8328" y="12359"/>
                </a:lnTo>
                <a:lnTo>
                  <a:pt x="8133" y="12383"/>
                </a:lnTo>
                <a:lnTo>
                  <a:pt x="7938" y="12359"/>
                </a:lnTo>
                <a:lnTo>
                  <a:pt x="7742" y="12310"/>
                </a:lnTo>
                <a:lnTo>
                  <a:pt x="7596" y="12212"/>
                </a:lnTo>
                <a:lnTo>
                  <a:pt x="7449" y="12090"/>
                </a:lnTo>
                <a:lnTo>
                  <a:pt x="7327" y="11943"/>
                </a:lnTo>
                <a:lnTo>
                  <a:pt x="7229" y="11797"/>
                </a:lnTo>
                <a:lnTo>
                  <a:pt x="7180" y="11601"/>
                </a:lnTo>
                <a:lnTo>
                  <a:pt x="7156" y="11406"/>
                </a:lnTo>
                <a:lnTo>
                  <a:pt x="7180" y="11211"/>
                </a:lnTo>
                <a:lnTo>
                  <a:pt x="7229" y="11040"/>
                </a:lnTo>
                <a:lnTo>
                  <a:pt x="7327" y="10869"/>
                </a:lnTo>
                <a:lnTo>
                  <a:pt x="7449" y="10722"/>
                </a:lnTo>
                <a:lnTo>
                  <a:pt x="7596" y="10600"/>
                </a:lnTo>
                <a:lnTo>
                  <a:pt x="7742" y="10502"/>
                </a:lnTo>
                <a:lnTo>
                  <a:pt x="7938" y="10454"/>
                </a:lnTo>
                <a:lnTo>
                  <a:pt x="8133" y="10429"/>
                </a:lnTo>
                <a:close/>
                <a:moveTo>
                  <a:pt x="7986" y="0"/>
                </a:moveTo>
                <a:lnTo>
                  <a:pt x="7864" y="25"/>
                </a:lnTo>
                <a:lnTo>
                  <a:pt x="7742" y="74"/>
                </a:lnTo>
                <a:lnTo>
                  <a:pt x="7620" y="123"/>
                </a:lnTo>
                <a:lnTo>
                  <a:pt x="7522" y="196"/>
                </a:lnTo>
                <a:lnTo>
                  <a:pt x="7425" y="294"/>
                </a:lnTo>
                <a:lnTo>
                  <a:pt x="7327" y="391"/>
                </a:lnTo>
                <a:lnTo>
                  <a:pt x="7254" y="489"/>
                </a:lnTo>
                <a:lnTo>
                  <a:pt x="147" y="12700"/>
                </a:lnTo>
                <a:lnTo>
                  <a:pt x="73" y="12823"/>
                </a:lnTo>
                <a:lnTo>
                  <a:pt x="25" y="12945"/>
                </a:lnTo>
                <a:lnTo>
                  <a:pt x="0" y="13067"/>
                </a:lnTo>
                <a:lnTo>
                  <a:pt x="0" y="13213"/>
                </a:lnTo>
                <a:lnTo>
                  <a:pt x="0" y="13335"/>
                </a:lnTo>
                <a:lnTo>
                  <a:pt x="25" y="13458"/>
                </a:lnTo>
                <a:lnTo>
                  <a:pt x="73" y="13604"/>
                </a:lnTo>
                <a:lnTo>
                  <a:pt x="147" y="13726"/>
                </a:lnTo>
                <a:lnTo>
                  <a:pt x="220" y="13824"/>
                </a:lnTo>
                <a:lnTo>
                  <a:pt x="293" y="13922"/>
                </a:lnTo>
                <a:lnTo>
                  <a:pt x="391" y="14019"/>
                </a:lnTo>
                <a:lnTo>
                  <a:pt x="513" y="14093"/>
                </a:lnTo>
                <a:lnTo>
                  <a:pt x="635" y="14141"/>
                </a:lnTo>
                <a:lnTo>
                  <a:pt x="757" y="14190"/>
                </a:lnTo>
                <a:lnTo>
                  <a:pt x="879" y="14215"/>
                </a:lnTo>
                <a:lnTo>
                  <a:pt x="15387" y="14215"/>
                </a:lnTo>
                <a:lnTo>
                  <a:pt x="15509" y="14190"/>
                </a:lnTo>
                <a:lnTo>
                  <a:pt x="15631" y="14141"/>
                </a:lnTo>
                <a:lnTo>
                  <a:pt x="15753" y="14093"/>
                </a:lnTo>
                <a:lnTo>
                  <a:pt x="15875" y="14019"/>
                </a:lnTo>
                <a:lnTo>
                  <a:pt x="15973" y="13922"/>
                </a:lnTo>
                <a:lnTo>
                  <a:pt x="16046" y="13824"/>
                </a:lnTo>
                <a:lnTo>
                  <a:pt x="16119" y="13726"/>
                </a:lnTo>
                <a:lnTo>
                  <a:pt x="16193" y="13604"/>
                </a:lnTo>
                <a:lnTo>
                  <a:pt x="16241" y="13458"/>
                </a:lnTo>
                <a:lnTo>
                  <a:pt x="16266" y="13335"/>
                </a:lnTo>
                <a:lnTo>
                  <a:pt x="16266" y="13213"/>
                </a:lnTo>
                <a:lnTo>
                  <a:pt x="16266" y="13067"/>
                </a:lnTo>
                <a:lnTo>
                  <a:pt x="16241" y="12945"/>
                </a:lnTo>
                <a:lnTo>
                  <a:pt x="16193" y="12823"/>
                </a:lnTo>
                <a:lnTo>
                  <a:pt x="16119" y="12700"/>
                </a:lnTo>
                <a:lnTo>
                  <a:pt x="9012" y="489"/>
                </a:lnTo>
                <a:lnTo>
                  <a:pt x="8939" y="391"/>
                </a:lnTo>
                <a:lnTo>
                  <a:pt x="8841" y="294"/>
                </a:lnTo>
                <a:lnTo>
                  <a:pt x="8744" y="196"/>
                </a:lnTo>
                <a:lnTo>
                  <a:pt x="8646" y="123"/>
                </a:lnTo>
                <a:lnTo>
                  <a:pt x="8524" y="74"/>
                </a:lnTo>
                <a:lnTo>
                  <a:pt x="8402" y="25"/>
                </a:lnTo>
                <a:lnTo>
                  <a:pt x="8255" y="0"/>
                </a:lnTo>
                <a:lnTo>
                  <a:pt x="7986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lIns="82265" tIns="82265" rIns="82265" bIns="82265" anchor="ctr"/>
          <a:lstStyle/>
          <a:p>
            <a:pPr marL="0" marR="0" lvl="0" indent="0" algn="l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080" b="0" i="0" u="none" strike="noStrike" kern="120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B593565-EC3B-4287-9B39-70983CC5CFFF}"/>
              </a:ext>
            </a:extLst>
          </p:cNvPr>
          <p:cNvSpPr txBox="1"/>
          <p:nvPr userDrawn="1"/>
        </p:nvSpPr>
        <p:spPr>
          <a:xfrm>
            <a:off x="59533" y="3893141"/>
            <a:ext cx="12094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Riesgos/</a:t>
            </a:r>
          </a:p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Problemas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7EAE267-C756-434A-A123-6A8DEBEE827F}"/>
              </a:ext>
            </a:extLst>
          </p:cNvPr>
          <p:cNvSpPr txBox="1"/>
          <p:nvPr userDrawn="1"/>
        </p:nvSpPr>
        <p:spPr>
          <a:xfrm>
            <a:off x="59533" y="5820578"/>
            <a:ext cx="120944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Siguientes paso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F79CC2C-FCB8-4B04-A4DF-4A546FD56C36}"/>
              </a:ext>
            </a:extLst>
          </p:cNvPr>
          <p:cNvSpPr txBox="1"/>
          <p:nvPr userDrawn="1"/>
        </p:nvSpPr>
        <p:spPr>
          <a:xfrm>
            <a:off x="59533" y="1968330"/>
            <a:ext cx="120944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Entrega de Valor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F557961-AB7C-4D81-AD2A-C37B226E71A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34225" y="1209413"/>
            <a:ext cx="1060067" cy="769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963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79" y="101900"/>
            <a:ext cx="11860664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92 CuadroTexto">
            <a:extLst>
              <a:ext uri="{FF2B5EF4-FFF2-40B4-BE49-F238E27FC236}">
                <a16:creationId xmlns:a16="http://schemas.microsoft.com/office/drawing/2014/main" id="{8048886B-AA90-465A-910B-D758D6561D7F}"/>
              </a:ext>
            </a:extLst>
          </p:cNvPr>
          <p:cNvSpPr txBox="1"/>
          <p:nvPr userDrawn="1"/>
        </p:nvSpPr>
        <p:spPr>
          <a:xfrm>
            <a:off x="232690" y="6624597"/>
            <a:ext cx="8206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254061"/>
                </a:solidFill>
                <a:latin typeface="Flexo Medium" pitchFamily="50" charset="0"/>
              </a:defRPr>
            </a:lvl1pPr>
          </a:lstStyle>
          <a:p>
            <a:pPr marL="0" marR="0" lvl="0" indent="0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Terminado</a:t>
            </a:r>
          </a:p>
        </p:txBody>
      </p:sp>
      <p:sp>
        <p:nvSpPr>
          <p:cNvPr id="14" name="92 CuadroTexto">
            <a:extLst>
              <a:ext uri="{FF2B5EF4-FFF2-40B4-BE49-F238E27FC236}">
                <a16:creationId xmlns:a16="http://schemas.microsoft.com/office/drawing/2014/main" id="{D1A9F13C-95C3-480B-B324-C44A2E84931E}"/>
              </a:ext>
            </a:extLst>
          </p:cNvPr>
          <p:cNvSpPr txBox="1"/>
          <p:nvPr userDrawn="1"/>
        </p:nvSpPr>
        <p:spPr>
          <a:xfrm>
            <a:off x="2356842" y="6624597"/>
            <a:ext cx="9175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254061"/>
                </a:solidFill>
                <a:latin typeface="Flexo Medium" pitchFamily="50" charset="0"/>
              </a:defRPr>
            </a:lvl1pPr>
          </a:lstStyle>
          <a:p>
            <a:pPr marL="0" marR="0" lvl="0" indent="0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Planificado</a:t>
            </a:r>
          </a:p>
        </p:txBody>
      </p:sp>
      <p:sp>
        <p:nvSpPr>
          <p:cNvPr id="15" name="92 CuadroTexto">
            <a:extLst>
              <a:ext uri="{FF2B5EF4-FFF2-40B4-BE49-F238E27FC236}">
                <a16:creationId xmlns:a16="http://schemas.microsoft.com/office/drawing/2014/main" id="{0B50627D-B106-4450-996F-0251D8664820}"/>
              </a:ext>
            </a:extLst>
          </p:cNvPr>
          <p:cNvSpPr txBox="1"/>
          <p:nvPr userDrawn="1"/>
        </p:nvSpPr>
        <p:spPr>
          <a:xfrm>
            <a:off x="1308057" y="6624597"/>
            <a:ext cx="9175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254061"/>
                </a:solidFill>
                <a:latin typeface="Flexo Medium" pitchFamily="50" charset="0"/>
              </a:defRPr>
            </a:lvl1pPr>
          </a:lstStyle>
          <a:p>
            <a:pPr marL="0" marR="0" lvl="0" indent="0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En proceso</a:t>
            </a:r>
          </a:p>
        </p:txBody>
      </p: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7209CF0-8944-44C1-90DF-62AE941C1BE6}"/>
              </a:ext>
            </a:extLst>
          </p:cNvPr>
          <p:cNvSpPr>
            <a:spLocks noChangeAspect="1"/>
          </p:cNvSpPr>
          <p:nvPr userDrawn="1"/>
        </p:nvSpPr>
        <p:spPr>
          <a:xfrm>
            <a:off x="1116283" y="6654391"/>
            <a:ext cx="218765" cy="161966"/>
          </a:xfrm>
          <a:custGeom>
            <a:avLst/>
            <a:gdLst>
              <a:gd name="connsiteX0" fmla="*/ 305371 w 1442193"/>
              <a:gd name="connsiteY0" fmla="*/ 260653 h 1311522"/>
              <a:gd name="connsiteX1" fmla="*/ 58236 w 1442193"/>
              <a:gd name="connsiteY1" fmla="*/ 507788 h 1311522"/>
              <a:gd name="connsiteX2" fmla="*/ 8809 w 1442193"/>
              <a:gd name="connsiteY2" fmla="*/ 791994 h 1311522"/>
              <a:gd name="connsiteX3" fmla="*/ 194160 w 1442193"/>
              <a:gd name="connsiteY3" fmla="*/ 1039129 h 1311522"/>
              <a:gd name="connsiteX4" fmla="*/ 428938 w 1442193"/>
              <a:gd name="connsiteY4" fmla="*/ 1224480 h 1311522"/>
              <a:gd name="connsiteX5" fmla="*/ 601933 w 1442193"/>
              <a:gd name="connsiteY5" fmla="*/ 1310977 h 1311522"/>
              <a:gd name="connsiteX6" fmla="*/ 923209 w 1442193"/>
              <a:gd name="connsiteY6" fmla="*/ 1187410 h 1311522"/>
              <a:gd name="connsiteX7" fmla="*/ 1306268 w 1442193"/>
              <a:gd name="connsiteY7" fmla="*/ 866134 h 1311522"/>
              <a:gd name="connsiteX8" fmla="*/ 1442193 w 1442193"/>
              <a:gd name="connsiteY8" fmla="*/ 618999 h 1311522"/>
              <a:gd name="connsiteX9" fmla="*/ 1306268 w 1442193"/>
              <a:gd name="connsiteY9" fmla="*/ 334794 h 1311522"/>
              <a:gd name="connsiteX10" fmla="*/ 997349 w 1442193"/>
              <a:gd name="connsiteY10" fmla="*/ 75302 h 1311522"/>
              <a:gd name="connsiteX11" fmla="*/ 688430 w 1442193"/>
              <a:gd name="connsiteY11" fmla="*/ 13518 h 1311522"/>
              <a:gd name="connsiteX12" fmla="*/ 243587 w 1442193"/>
              <a:gd name="connsiteY12" fmla="*/ 297723 h 1311522"/>
              <a:gd name="connsiteX0" fmla="*/ 305371 w 1442193"/>
              <a:gd name="connsiteY0" fmla="*/ 260653 h 1312626"/>
              <a:gd name="connsiteX1" fmla="*/ 58236 w 1442193"/>
              <a:gd name="connsiteY1" fmla="*/ 507788 h 1312626"/>
              <a:gd name="connsiteX2" fmla="*/ 8809 w 1442193"/>
              <a:gd name="connsiteY2" fmla="*/ 791994 h 1312626"/>
              <a:gd name="connsiteX3" fmla="*/ 194160 w 1442193"/>
              <a:gd name="connsiteY3" fmla="*/ 1039129 h 1312626"/>
              <a:gd name="connsiteX4" fmla="*/ 409888 w 1442193"/>
              <a:gd name="connsiteY4" fmla="*/ 1243530 h 1312626"/>
              <a:gd name="connsiteX5" fmla="*/ 601933 w 1442193"/>
              <a:gd name="connsiteY5" fmla="*/ 1310977 h 1312626"/>
              <a:gd name="connsiteX6" fmla="*/ 923209 w 1442193"/>
              <a:gd name="connsiteY6" fmla="*/ 1187410 h 1312626"/>
              <a:gd name="connsiteX7" fmla="*/ 1306268 w 1442193"/>
              <a:gd name="connsiteY7" fmla="*/ 866134 h 1312626"/>
              <a:gd name="connsiteX8" fmla="*/ 1442193 w 1442193"/>
              <a:gd name="connsiteY8" fmla="*/ 618999 h 1312626"/>
              <a:gd name="connsiteX9" fmla="*/ 1306268 w 1442193"/>
              <a:gd name="connsiteY9" fmla="*/ 334794 h 1312626"/>
              <a:gd name="connsiteX10" fmla="*/ 997349 w 1442193"/>
              <a:gd name="connsiteY10" fmla="*/ 75302 h 1312626"/>
              <a:gd name="connsiteX11" fmla="*/ 688430 w 1442193"/>
              <a:gd name="connsiteY11" fmla="*/ 13518 h 1312626"/>
              <a:gd name="connsiteX12" fmla="*/ 243587 w 1442193"/>
              <a:gd name="connsiteY12" fmla="*/ 297723 h 1312626"/>
              <a:gd name="connsiteX0" fmla="*/ 305371 w 1442193"/>
              <a:gd name="connsiteY0" fmla="*/ 260821 h 1312794"/>
              <a:gd name="connsiteX1" fmla="*/ 58236 w 1442193"/>
              <a:gd name="connsiteY1" fmla="*/ 507956 h 1312794"/>
              <a:gd name="connsiteX2" fmla="*/ 8809 w 1442193"/>
              <a:gd name="connsiteY2" fmla="*/ 792162 h 1312794"/>
              <a:gd name="connsiteX3" fmla="*/ 194160 w 1442193"/>
              <a:gd name="connsiteY3" fmla="*/ 1039297 h 1312794"/>
              <a:gd name="connsiteX4" fmla="*/ 409888 w 1442193"/>
              <a:gd name="connsiteY4" fmla="*/ 1243698 h 1312794"/>
              <a:gd name="connsiteX5" fmla="*/ 601933 w 1442193"/>
              <a:gd name="connsiteY5" fmla="*/ 1311145 h 1312794"/>
              <a:gd name="connsiteX6" fmla="*/ 923209 w 1442193"/>
              <a:gd name="connsiteY6" fmla="*/ 1187578 h 1312794"/>
              <a:gd name="connsiteX7" fmla="*/ 1306268 w 1442193"/>
              <a:gd name="connsiteY7" fmla="*/ 866302 h 1312794"/>
              <a:gd name="connsiteX8" fmla="*/ 1442193 w 1442193"/>
              <a:gd name="connsiteY8" fmla="*/ 619167 h 1312794"/>
              <a:gd name="connsiteX9" fmla="*/ 1306268 w 1442193"/>
              <a:gd name="connsiteY9" fmla="*/ 334962 h 1312794"/>
              <a:gd name="connsiteX10" fmla="*/ 997349 w 1442193"/>
              <a:gd name="connsiteY10" fmla="*/ 75470 h 1312794"/>
              <a:gd name="connsiteX11" fmla="*/ 688430 w 1442193"/>
              <a:gd name="connsiteY11" fmla="*/ 13686 h 1312794"/>
              <a:gd name="connsiteX12" fmla="*/ 260256 w 1442193"/>
              <a:gd name="connsiteY12" fmla="*/ 300272 h 1312794"/>
              <a:gd name="connsiteX0" fmla="*/ 305371 w 1442193"/>
              <a:gd name="connsiteY0" fmla="*/ 260654 h 1312627"/>
              <a:gd name="connsiteX1" fmla="*/ 58236 w 1442193"/>
              <a:gd name="connsiteY1" fmla="*/ 507789 h 1312627"/>
              <a:gd name="connsiteX2" fmla="*/ 8809 w 1442193"/>
              <a:gd name="connsiteY2" fmla="*/ 791995 h 1312627"/>
              <a:gd name="connsiteX3" fmla="*/ 194160 w 1442193"/>
              <a:gd name="connsiteY3" fmla="*/ 1039130 h 1312627"/>
              <a:gd name="connsiteX4" fmla="*/ 409888 w 1442193"/>
              <a:gd name="connsiteY4" fmla="*/ 1243531 h 1312627"/>
              <a:gd name="connsiteX5" fmla="*/ 601933 w 1442193"/>
              <a:gd name="connsiteY5" fmla="*/ 1310978 h 1312627"/>
              <a:gd name="connsiteX6" fmla="*/ 923209 w 1442193"/>
              <a:gd name="connsiteY6" fmla="*/ 1187411 h 1312627"/>
              <a:gd name="connsiteX7" fmla="*/ 1306268 w 1442193"/>
              <a:gd name="connsiteY7" fmla="*/ 866135 h 1312627"/>
              <a:gd name="connsiteX8" fmla="*/ 1442193 w 1442193"/>
              <a:gd name="connsiteY8" fmla="*/ 619000 h 1312627"/>
              <a:gd name="connsiteX9" fmla="*/ 1306268 w 1442193"/>
              <a:gd name="connsiteY9" fmla="*/ 334795 h 1312627"/>
              <a:gd name="connsiteX10" fmla="*/ 997349 w 1442193"/>
              <a:gd name="connsiteY10" fmla="*/ 75303 h 1312627"/>
              <a:gd name="connsiteX11" fmla="*/ 688430 w 1442193"/>
              <a:gd name="connsiteY11" fmla="*/ 13519 h 1312627"/>
              <a:gd name="connsiteX12" fmla="*/ 253112 w 1442193"/>
              <a:gd name="connsiteY12" fmla="*/ 297723 h 1312627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295974 w 1442193"/>
              <a:gd name="connsiteY12" fmla="*/ 254400 h 1309785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307881 w 1442193"/>
              <a:gd name="connsiteY12" fmla="*/ 254400 h 1309785"/>
              <a:gd name="connsiteX0" fmla="*/ 305371 w 1442193"/>
              <a:gd name="connsiteY0" fmla="*/ 258143 h 1310116"/>
              <a:gd name="connsiteX1" fmla="*/ 58236 w 1442193"/>
              <a:gd name="connsiteY1" fmla="*/ 505278 h 1310116"/>
              <a:gd name="connsiteX2" fmla="*/ 8809 w 1442193"/>
              <a:gd name="connsiteY2" fmla="*/ 789484 h 1310116"/>
              <a:gd name="connsiteX3" fmla="*/ 194160 w 1442193"/>
              <a:gd name="connsiteY3" fmla="*/ 1036619 h 1310116"/>
              <a:gd name="connsiteX4" fmla="*/ 409888 w 1442193"/>
              <a:gd name="connsiteY4" fmla="*/ 1241020 h 1310116"/>
              <a:gd name="connsiteX5" fmla="*/ 601933 w 1442193"/>
              <a:gd name="connsiteY5" fmla="*/ 1308467 h 1310116"/>
              <a:gd name="connsiteX6" fmla="*/ 923209 w 1442193"/>
              <a:gd name="connsiteY6" fmla="*/ 1184900 h 1310116"/>
              <a:gd name="connsiteX7" fmla="*/ 1306268 w 1442193"/>
              <a:gd name="connsiteY7" fmla="*/ 863624 h 1310116"/>
              <a:gd name="connsiteX8" fmla="*/ 1442193 w 1442193"/>
              <a:gd name="connsiteY8" fmla="*/ 616489 h 1310116"/>
              <a:gd name="connsiteX9" fmla="*/ 1306268 w 1442193"/>
              <a:gd name="connsiteY9" fmla="*/ 332284 h 1310116"/>
              <a:gd name="connsiteX10" fmla="*/ 997349 w 1442193"/>
              <a:gd name="connsiteY10" fmla="*/ 72792 h 1310116"/>
              <a:gd name="connsiteX11" fmla="*/ 688430 w 1442193"/>
              <a:gd name="connsiteY11" fmla="*/ 11008 h 1310116"/>
              <a:gd name="connsiteX12" fmla="*/ 298356 w 1442193"/>
              <a:gd name="connsiteY12" fmla="*/ 259493 h 1310116"/>
              <a:gd name="connsiteX0" fmla="*/ 305371 w 1442193"/>
              <a:gd name="connsiteY0" fmla="*/ 258476 h 1310449"/>
              <a:gd name="connsiteX1" fmla="*/ 58236 w 1442193"/>
              <a:gd name="connsiteY1" fmla="*/ 505611 h 1310449"/>
              <a:gd name="connsiteX2" fmla="*/ 8809 w 1442193"/>
              <a:gd name="connsiteY2" fmla="*/ 789817 h 1310449"/>
              <a:gd name="connsiteX3" fmla="*/ 194160 w 1442193"/>
              <a:gd name="connsiteY3" fmla="*/ 1036952 h 1310449"/>
              <a:gd name="connsiteX4" fmla="*/ 409888 w 1442193"/>
              <a:gd name="connsiteY4" fmla="*/ 1241353 h 1310449"/>
              <a:gd name="connsiteX5" fmla="*/ 601933 w 1442193"/>
              <a:gd name="connsiteY5" fmla="*/ 1308800 h 1310449"/>
              <a:gd name="connsiteX6" fmla="*/ 923209 w 1442193"/>
              <a:gd name="connsiteY6" fmla="*/ 1185233 h 1310449"/>
              <a:gd name="connsiteX7" fmla="*/ 1306268 w 1442193"/>
              <a:gd name="connsiteY7" fmla="*/ 863957 h 1310449"/>
              <a:gd name="connsiteX8" fmla="*/ 1442193 w 1442193"/>
              <a:gd name="connsiteY8" fmla="*/ 616822 h 1310449"/>
              <a:gd name="connsiteX9" fmla="*/ 1306268 w 1442193"/>
              <a:gd name="connsiteY9" fmla="*/ 332617 h 1310449"/>
              <a:gd name="connsiteX10" fmla="*/ 997349 w 1442193"/>
              <a:gd name="connsiteY10" fmla="*/ 73125 h 1310449"/>
              <a:gd name="connsiteX11" fmla="*/ 688430 w 1442193"/>
              <a:gd name="connsiteY11" fmla="*/ 11341 h 1310449"/>
              <a:gd name="connsiteX12" fmla="*/ 295975 w 1442193"/>
              <a:gd name="connsiteY12" fmla="*/ 264589 h 1310449"/>
              <a:gd name="connsiteX0" fmla="*/ 305371 w 1442193"/>
              <a:gd name="connsiteY0" fmla="*/ 258476 h 1332161"/>
              <a:gd name="connsiteX1" fmla="*/ 58236 w 1442193"/>
              <a:gd name="connsiteY1" fmla="*/ 505611 h 1332161"/>
              <a:gd name="connsiteX2" fmla="*/ 8809 w 1442193"/>
              <a:gd name="connsiteY2" fmla="*/ 789817 h 1332161"/>
              <a:gd name="connsiteX3" fmla="*/ 194160 w 1442193"/>
              <a:gd name="connsiteY3" fmla="*/ 1036952 h 1332161"/>
              <a:gd name="connsiteX4" fmla="*/ 409888 w 1442193"/>
              <a:gd name="connsiteY4" fmla="*/ 1241353 h 1332161"/>
              <a:gd name="connsiteX5" fmla="*/ 627333 w 1442193"/>
              <a:gd name="connsiteY5" fmla="*/ 1331025 h 1332161"/>
              <a:gd name="connsiteX6" fmla="*/ 923209 w 1442193"/>
              <a:gd name="connsiteY6" fmla="*/ 1185233 h 1332161"/>
              <a:gd name="connsiteX7" fmla="*/ 1306268 w 1442193"/>
              <a:gd name="connsiteY7" fmla="*/ 863957 h 1332161"/>
              <a:gd name="connsiteX8" fmla="*/ 1442193 w 1442193"/>
              <a:gd name="connsiteY8" fmla="*/ 616822 h 1332161"/>
              <a:gd name="connsiteX9" fmla="*/ 1306268 w 1442193"/>
              <a:gd name="connsiteY9" fmla="*/ 332617 h 1332161"/>
              <a:gd name="connsiteX10" fmla="*/ 997349 w 1442193"/>
              <a:gd name="connsiteY10" fmla="*/ 73125 h 1332161"/>
              <a:gd name="connsiteX11" fmla="*/ 688430 w 1442193"/>
              <a:gd name="connsiteY11" fmla="*/ 11341 h 1332161"/>
              <a:gd name="connsiteX12" fmla="*/ 295975 w 1442193"/>
              <a:gd name="connsiteY12" fmla="*/ 264589 h 1332161"/>
              <a:gd name="connsiteX0" fmla="*/ 305371 w 1435843"/>
              <a:gd name="connsiteY0" fmla="*/ 258476 h 1332161"/>
              <a:gd name="connsiteX1" fmla="*/ 58236 w 1435843"/>
              <a:gd name="connsiteY1" fmla="*/ 505611 h 1332161"/>
              <a:gd name="connsiteX2" fmla="*/ 8809 w 1435843"/>
              <a:gd name="connsiteY2" fmla="*/ 789817 h 1332161"/>
              <a:gd name="connsiteX3" fmla="*/ 194160 w 1435843"/>
              <a:gd name="connsiteY3" fmla="*/ 1036952 h 1332161"/>
              <a:gd name="connsiteX4" fmla="*/ 409888 w 1435843"/>
              <a:gd name="connsiteY4" fmla="*/ 1241353 h 1332161"/>
              <a:gd name="connsiteX5" fmla="*/ 627333 w 1435843"/>
              <a:gd name="connsiteY5" fmla="*/ 1331025 h 1332161"/>
              <a:gd name="connsiteX6" fmla="*/ 923209 w 1435843"/>
              <a:gd name="connsiteY6" fmla="*/ 1185233 h 1332161"/>
              <a:gd name="connsiteX7" fmla="*/ 1306268 w 1435843"/>
              <a:gd name="connsiteY7" fmla="*/ 863957 h 1332161"/>
              <a:gd name="connsiteX8" fmla="*/ 1435843 w 1435843"/>
              <a:gd name="connsiteY8" fmla="*/ 623172 h 1332161"/>
              <a:gd name="connsiteX9" fmla="*/ 1306268 w 1435843"/>
              <a:gd name="connsiteY9" fmla="*/ 332617 h 1332161"/>
              <a:gd name="connsiteX10" fmla="*/ 997349 w 1435843"/>
              <a:gd name="connsiteY10" fmla="*/ 73125 h 1332161"/>
              <a:gd name="connsiteX11" fmla="*/ 688430 w 1435843"/>
              <a:gd name="connsiteY11" fmla="*/ 11341 h 1332161"/>
              <a:gd name="connsiteX12" fmla="*/ 295975 w 1435843"/>
              <a:gd name="connsiteY12" fmla="*/ 264589 h 1332161"/>
              <a:gd name="connsiteX0" fmla="*/ 305371 w 1435847"/>
              <a:gd name="connsiteY0" fmla="*/ 258622 h 1332307"/>
              <a:gd name="connsiteX1" fmla="*/ 58236 w 1435847"/>
              <a:gd name="connsiteY1" fmla="*/ 505757 h 1332307"/>
              <a:gd name="connsiteX2" fmla="*/ 8809 w 1435847"/>
              <a:gd name="connsiteY2" fmla="*/ 789963 h 1332307"/>
              <a:gd name="connsiteX3" fmla="*/ 194160 w 1435847"/>
              <a:gd name="connsiteY3" fmla="*/ 1037098 h 1332307"/>
              <a:gd name="connsiteX4" fmla="*/ 409888 w 1435847"/>
              <a:gd name="connsiteY4" fmla="*/ 1241499 h 1332307"/>
              <a:gd name="connsiteX5" fmla="*/ 627333 w 1435847"/>
              <a:gd name="connsiteY5" fmla="*/ 1331171 h 1332307"/>
              <a:gd name="connsiteX6" fmla="*/ 923209 w 1435847"/>
              <a:gd name="connsiteY6" fmla="*/ 1185379 h 1332307"/>
              <a:gd name="connsiteX7" fmla="*/ 1306268 w 1435847"/>
              <a:gd name="connsiteY7" fmla="*/ 864103 h 1332307"/>
              <a:gd name="connsiteX8" fmla="*/ 1435843 w 1435847"/>
              <a:gd name="connsiteY8" fmla="*/ 623318 h 1332307"/>
              <a:gd name="connsiteX9" fmla="*/ 1303093 w 1435847"/>
              <a:gd name="connsiteY9" fmla="*/ 339113 h 1332307"/>
              <a:gd name="connsiteX10" fmla="*/ 997349 w 1435847"/>
              <a:gd name="connsiteY10" fmla="*/ 73271 h 1332307"/>
              <a:gd name="connsiteX11" fmla="*/ 688430 w 1435847"/>
              <a:gd name="connsiteY11" fmla="*/ 11487 h 1332307"/>
              <a:gd name="connsiteX12" fmla="*/ 295975 w 1435847"/>
              <a:gd name="connsiteY12" fmla="*/ 264735 h 1332307"/>
              <a:gd name="connsiteX0" fmla="*/ 305371 w 1435847"/>
              <a:gd name="connsiteY0" fmla="*/ 257598 h 1331283"/>
              <a:gd name="connsiteX1" fmla="*/ 58236 w 1435847"/>
              <a:gd name="connsiteY1" fmla="*/ 504733 h 1331283"/>
              <a:gd name="connsiteX2" fmla="*/ 8809 w 1435847"/>
              <a:gd name="connsiteY2" fmla="*/ 788939 h 1331283"/>
              <a:gd name="connsiteX3" fmla="*/ 194160 w 1435847"/>
              <a:gd name="connsiteY3" fmla="*/ 1036074 h 1331283"/>
              <a:gd name="connsiteX4" fmla="*/ 409888 w 1435847"/>
              <a:gd name="connsiteY4" fmla="*/ 1240475 h 1331283"/>
              <a:gd name="connsiteX5" fmla="*/ 627333 w 1435847"/>
              <a:gd name="connsiteY5" fmla="*/ 1330147 h 1331283"/>
              <a:gd name="connsiteX6" fmla="*/ 923209 w 1435847"/>
              <a:gd name="connsiteY6" fmla="*/ 1184355 h 1331283"/>
              <a:gd name="connsiteX7" fmla="*/ 1306268 w 1435847"/>
              <a:gd name="connsiteY7" fmla="*/ 863079 h 1331283"/>
              <a:gd name="connsiteX8" fmla="*/ 1435843 w 1435847"/>
              <a:gd name="connsiteY8" fmla="*/ 622294 h 1331283"/>
              <a:gd name="connsiteX9" fmla="*/ 1303093 w 1435847"/>
              <a:gd name="connsiteY9" fmla="*/ 338089 h 1331283"/>
              <a:gd name="connsiteX10" fmla="*/ 1016399 w 1435847"/>
              <a:gd name="connsiteY10" fmla="*/ 77010 h 1331283"/>
              <a:gd name="connsiteX11" fmla="*/ 688430 w 1435847"/>
              <a:gd name="connsiteY11" fmla="*/ 10463 h 1331283"/>
              <a:gd name="connsiteX12" fmla="*/ 295975 w 1435847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16399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36043" h="1331283">
                <a:moveTo>
                  <a:pt x="305371" y="257598"/>
                </a:moveTo>
                <a:cubicBezTo>
                  <a:pt x="206517" y="336887"/>
                  <a:pt x="107663" y="416176"/>
                  <a:pt x="58236" y="504733"/>
                </a:cubicBezTo>
                <a:cubicBezTo>
                  <a:pt x="8809" y="593290"/>
                  <a:pt x="-13845" y="700382"/>
                  <a:pt x="8809" y="788939"/>
                </a:cubicBezTo>
                <a:cubicBezTo>
                  <a:pt x="31463" y="877496"/>
                  <a:pt x="127313" y="960818"/>
                  <a:pt x="194160" y="1036074"/>
                </a:cubicBezTo>
                <a:cubicBezTo>
                  <a:pt x="261007" y="1111330"/>
                  <a:pt x="337692" y="1191463"/>
                  <a:pt x="409888" y="1240475"/>
                </a:cubicBezTo>
                <a:cubicBezTo>
                  <a:pt x="482084" y="1289487"/>
                  <a:pt x="541780" y="1339500"/>
                  <a:pt x="627333" y="1330147"/>
                </a:cubicBezTo>
                <a:cubicBezTo>
                  <a:pt x="712886" y="1320794"/>
                  <a:pt x="810053" y="1262200"/>
                  <a:pt x="923209" y="1184355"/>
                </a:cubicBezTo>
                <a:cubicBezTo>
                  <a:pt x="1036365" y="1106510"/>
                  <a:pt x="1220829" y="956756"/>
                  <a:pt x="1306268" y="863079"/>
                </a:cubicBezTo>
                <a:cubicBezTo>
                  <a:pt x="1391707" y="769402"/>
                  <a:pt x="1439547" y="709792"/>
                  <a:pt x="1435843" y="622294"/>
                </a:cubicBezTo>
                <a:cubicBezTo>
                  <a:pt x="1432139" y="534796"/>
                  <a:pt x="1379351" y="452783"/>
                  <a:pt x="1284043" y="338089"/>
                </a:cubicBezTo>
                <a:cubicBezTo>
                  <a:pt x="1188735" y="223395"/>
                  <a:pt x="1106143" y="131614"/>
                  <a:pt x="1006874" y="77010"/>
                </a:cubicBezTo>
                <a:cubicBezTo>
                  <a:pt x="907605" y="22406"/>
                  <a:pt x="806913" y="-20654"/>
                  <a:pt x="688430" y="10463"/>
                </a:cubicBezTo>
                <a:cubicBezTo>
                  <a:pt x="569947" y="41580"/>
                  <a:pt x="455583" y="140143"/>
                  <a:pt x="295975" y="263711"/>
                </a:cubicBezTo>
              </a:path>
            </a:pathLst>
          </a:custGeom>
          <a:solidFill>
            <a:srgbClr val="ED7D31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anchor="ctr"/>
          <a:lstStyle/>
          <a:p>
            <a:pPr marL="0" marR="0" lvl="0" indent="0" algn="ctr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81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Flexo Medium" pitchFamily="50" charset="0"/>
              <a:cs typeface="Arial" pitchFamily="34" charset="0"/>
            </a:endParaRPr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19DA25D9-BA6A-4071-B03C-5AE121A44357}"/>
              </a:ext>
            </a:extLst>
          </p:cNvPr>
          <p:cNvSpPr>
            <a:spLocks noChangeAspect="1"/>
          </p:cNvSpPr>
          <p:nvPr userDrawn="1"/>
        </p:nvSpPr>
        <p:spPr>
          <a:xfrm>
            <a:off x="2203008" y="6654391"/>
            <a:ext cx="218765" cy="161966"/>
          </a:xfrm>
          <a:custGeom>
            <a:avLst/>
            <a:gdLst>
              <a:gd name="connsiteX0" fmla="*/ 305371 w 1442193"/>
              <a:gd name="connsiteY0" fmla="*/ 260653 h 1311522"/>
              <a:gd name="connsiteX1" fmla="*/ 58236 w 1442193"/>
              <a:gd name="connsiteY1" fmla="*/ 507788 h 1311522"/>
              <a:gd name="connsiteX2" fmla="*/ 8809 w 1442193"/>
              <a:gd name="connsiteY2" fmla="*/ 791994 h 1311522"/>
              <a:gd name="connsiteX3" fmla="*/ 194160 w 1442193"/>
              <a:gd name="connsiteY3" fmla="*/ 1039129 h 1311522"/>
              <a:gd name="connsiteX4" fmla="*/ 428938 w 1442193"/>
              <a:gd name="connsiteY4" fmla="*/ 1224480 h 1311522"/>
              <a:gd name="connsiteX5" fmla="*/ 601933 w 1442193"/>
              <a:gd name="connsiteY5" fmla="*/ 1310977 h 1311522"/>
              <a:gd name="connsiteX6" fmla="*/ 923209 w 1442193"/>
              <a:gd name="connsiteY6" fmla="*/ 1187410 h 1311522"/>
              <a:gd name="connsiteX7" fmla="*/ 1306268 w 1442193"/>
              <a:gd name="connsiteY7" fmla="*/ 866134 h 1311522"/>
              <a:gd name="connsiteX8" fmla="*/ 1442193 w 1442193"/>
              <a:gd name="connsiteY8" fmla="*/ 618999 h 1311522"/>
              <a:gd name="connsiteX9" fmla="*/ 1306268 w 1442193"/>
              <a:gd name="connsiteY9" fmla="*/ 334794 h 1311522"/>
              <a:gd name="connsiteX10" fmla="*/ 997349 w 1442193"/>
              <a:gd name="connsiteY10" fmla="*/ 75302 h 1311522"/>
              <a:gd name="connsiteX11" fmla="*/ 688430 w 1442193"/>
              <a:gd name="connsiteY11" fmla="*/ 13518 h 1311522"/>
              <a:gd name="connsiteX12" fmla="*/ 243587 w 1442193"/>
              <a:gd name="connsiteY12" fmla="*/ 297723 h 1311522"/>
              <a:gd name="connsiteX0" fmla="*/ 305371 w 1442193"/>
              <a:gd name="connsiteY0" fmla="*/ 260653 h 1312626"/>
              <a:gd name="connsiteX1" fmla="*/ 58236 w 1442193"/>
              <a:gd name="connsiteY1" fmla="*/ 507788 h 1312626"/>
              <a:gd name="connsiteX2" fmla="*/ 8809 w 1442193"/>
              <a:gd name="connsiteY2" fmla="*/ 791994 h 1312626"/>
              <a:gd name="connsiteX3" fmla="*/ 194160 w 1442193"/>
              <a:gd name="connsiteY3" fmla="*/ 1039129 h 1312626"/>
              <a:gd name="connsiteX4" fmla="*/ 409888 w 1442193"/>
              <a:gd name="connsiteY4" fmla="*/ 1243530 h 1312626"/>
              <a:gd name="connsiteX5" fmla="*/ 601933 w 1442193"/>
              <a:gd name="connsiteY5" fmla="*/ 1310977 h 1312626"/>
              <a:gd name="connsiteX6" fmla="*/ 923209 w 1442193"/>
              <a:gd name="connsiteY6" fmla="*/ 1187410 h 1312626"/>
              <a:gd name="connsiteX7" fmla="*/ 1306268 w 1442193"/>
              <a:gd name="connsiteY7" fmla="*/ 866134 h 1312626"/>
              <a:gd name="connsiteX8" fmla="*/ 1442193 w 1442193"/>
              <a:gd name="connsiteY8" fmla="*/ 618999 h 1312626"/>
              <a:gd name="connsiteX9" fmla="*/ 1306268 w 1442193"/>
              <a:gd name="connsiteY9" fmla="*/ 334794 h 1312626"/>
              <a:gd name="connsiteX10" fmla="*/ 997349 w 1442193"/>
              <a:gd name="connsiteY10" fmla="*/ 75302 h 1312626"/>
              <a:gd name="connsiteX11" fmla="*/ 688430 w 1442193"/>
              <a:gd name="connsiteY11" fmla="*/ 13518 h 1312626"/>
              <a:gd name="connsiteX12" fmla="*/ 243587 w 1442193"/>
              <a:gd name="connsiteY12" fmla="*/ 297723 h 1312626"/>
              <a:gd name="connsiteX0" fmla="*/ 305371 w 1442193"/>
              <a:gd name="connsiteY0" fmla="*/ 260821 h 1312794"/>
              <a:gd name="connsiteX1" fmla="*/ 58236 w 1442193"/>
              <a:gd name="connsiteY1" fmla="*/ 507956 h 1312794"/>
              <a:gd name="connsiteX2" fmla="*/ 8809 w 1442193"/>
              <a:gd name="connsiteY2" fmla="*/ 792162 h 1312794"/>
              <a:gd name="connsiteX3" fmla="*/ 194160 w 1442193"/>
              <a:gd name="connsiteY3" fmla="*/ 1039297 h 1312794"/>
              <a:gd name="connsiteX4" fmla="*/ 409888 w 1442193"/>
              <a:gd name="connsiteY4" fmla="*/ 1243698 h 1312794"/>
              <a:gd name="connsiteX5" fmla="*/ 601933 w 1442193"/>
              <a:gd name="connsiteY5" fmla="*/ 1311145 h 1312794"/>
              <a:gd name="connsiteX6" fmla="*/ 923209 w 1442193"/>
              <a:gd name="connsiteY6" fmla="*/ 1187578 h 1312794"/>
              <a:gd name="connsiteX7" fmla="*/ 1306268 w 1442193"/>
              <a:gd name="connsiteY7" fmla="*/ 866302 h 1312794"/>
              <a:gd name="connsiteX8" fmla="*/ 1442193 w 1442193"/>
              <a:gd name="connsiteY8" fmla="*/ 619167 h 1312794"/>
              <a:gd name="connsiteX9" fmla="*/ 1306268 w 1442193"/>
              <a:gd name="connsiteY9" fmla="*/ 334962 h 1312794"/>
              <a:gd name="connsiteX10" fmla="*/ 997349 w 1442193"/>
              <a:gd name="connsiteY10" fmla="*/ 75470 h 1312794"/>
              <a:gd name="connsiteX11" fmla="*/ 688430 w 1442193"/>
              <a:gd name="connsiteY11" fmla="*/ 13686 h 1312794"/>
              <a:gd name="connsiteX12" fmla="*/ 260256 w 1442193"/>
              <a:gd name="connsiteY12" fmla="*/ 300272 h 1312794"/>
              <a:gd name="connsiteX0" fmla="*/ 305371 w 1442193"/>
              <a:gd name="connsiteY0" fmla="*/ 260654 h 1312627"/>
              <a:gd name="connsiteX1" fmla="*/ 58236 w 1442193"/>
              <a:gd name="connsiteY1" fmla="*/ 507789 h 1312627"/>
              <a:gd name="connsiteX2" fmla="*/ 8809 w 1442193"/>
              <a:gd name="connsiteY2" fmla="*/ 791995 h 1312627"/>
              <a:gd name="connsiteX3" fmla="*/ 194160 w 1442193"/>
              <a:gd name="connsiteY3" fmla="*/ 1039130 h 1312627"/>
              <a:gd name="connsiteX4" fmla="*/ 409888 w 1442193"/>
              <a:gd name="connsiteY4" fmla="*/ 1243531 h 1312627"/>
              <a:gd name="connsiteX5" fmla="*/ 601933 w 1442193"/>
              <a:gd name="connsiteY5" fmla="*/ 1310978 h 1312627"/>
              <a:gd name="connsiteX6" fmla="*/ 923209 w 1442193"/>
              <a:gd name="connsiteY6" fmla="*/ 1187411 h 1312627"/>
              <a:gd name="connsiteX7" fmla="*/ 1306268 w 1442193"/>
              <a:gd name="connsiteY7" fmla="*/ 866135 h 1312627"/>
              <a:gd name="connsiteX8" fmla="*/ 1442193 w 1442193"/>
              <a:gd name="connsiteY8" fmla="*/ 619000 h 1312627"/>
              <a:gd name="connsiteX9" fmla="*/ 1306268 w 1442193"/>
              <a:gd name="connsiteY9" fmla="*/ 334795 h 1312627"/>
              <a:gd name="connsiteX10" fmla="*/ 997349 w 1442193"/>
              <a:gd name="connsiteY10" fmla="*/ 75303 h 1312627"/>
              <a:gd name="connsiteX11" fmla="*/ 688430 w 1442193"/>
              <a:gd name="connsiteY11" fmla="*/ 13519 h 1312627"/>
              <a:gd name="connsiteX12" fmla="*/ 253112 w 1442193"/>
              <a:gd name="connsiteY12" fmla="*/ 297723 h 1312627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295974 w 1442193"/>
              <a:gd name="connsiteY12" fmla="*/ 254400 h 1309785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307881 w 1442193"/>
              <a:gd name="connsiteY12" fmla="*/ 254400 h 1309785"/>
              <a:gd name="connsiteX0" fmla="*/ 305371 w 1442193"/>
              <a:gd name="connsiteY0" fmla="*/ 258143 h 1310116"/>
              <a:gd name="connsiteX1" fmla="*/ 58236 w 1442193"/>
              <a:gd name="connsiteY1" fmla="*/ 505278 h 1310116"/>
              <a:gd name="connsiteX2" fmla="*/ 8809 w 1442193"/>
              <a:gd name="connsiteY2" fmla="*/ 789484 h 1310116"/>
              <a:gd name="connsiteX3" fmla="*/ 194160 w 1442193"/>
              <a:gd name="connsiteY3" fmla="*/ 1036619 h 1310116"/>
              <a:gd name="connsiteX4" fmla="*/ 409888 w 1442193"/>
              <a:gd name="connsiteY4" fmla="*/ 1241020 h 1310116"/>
              <a:gd name="connsiteX5" fmla="*/ 601933 w 1442193"/>
              <a:gd name="connsiteY5" fmla="*/ 1308467 h 1310116"/>
              <a:gd name="connsiteX6" fmla="*/ 923209 w 1442193"/>
              <a:gd name="connsiteY6" fmla="*/ 1184900 h 1310116"/>
              <a:gd name="connsiteX7" fmla="*/ 1306268 w 1442193"/>
              <a:gd name="connsiteY7" fmla="*/ 863624 h 1310116"/>
              <a:gd name="connsiteX8" fmla="*/ 1442193 w 1442193"/>
              <a:gd name="connsiteY8" fmla="*/ 616489 h 1310116"/>
              <a:gd name="connsiteX9" fmla="*/ 1306268 w 1442193"/>
              <a:gd name="connsiteY9" fmla="*/ 332284 h 1310116"/>
              <a:gd name="connsiteX10" fmla="*/ 997349 w 1442193"/>
              <a:gd name="connsiteY10" fmla="*/ 72792 h 1310116"/>
              <a:gd name="connsiteX11" fmla="*/ 688430 w 1442193"/>
              <a:gd name="connsiteY11" fmla="*/ 11008 h 1310116"/>
              <a:gd name="connsiteX12" fmla="*/ 298356 w 1442193"/>
              <a:gd name="connsiteY12" fmla="*/ 259493 h 1310116"/>
              <a:gd name="connsiteX0" fmla="*/ 305371 w 1442193"/>
              <a:gd name="connsiteY0" fmla="*/ 258476 h 1310449"/>
              <a:gd name="connsiteX1" fmla="*/ 58236 w 1442193"/>
              <a:gd name="connsiteY1" fmla="*/ 505611 h 1310449"/>
              <a:gd name="connsiteX2" fmla="*/ 8809 w 1442193"/>
              <a:gd name="connsiteY2" fmla="*/ 789817 h 1310449"/>
              <a:gd name="connsiteX3" fmla="*/ 194160 w 1442193"/>
              <a:gd name="connsiteY3" fmla="*/ 1036952 h 1310449"/>
              <a:gd name="connsiteX4" fmla="*/ 409888 w 1442193"/>
              <a:gd name="connsiteY4" fmla="*/ 1241353 h 1310449"/>
              <a:gd name="connsiteX5" fmla="*/ 601933 w 1442193"/>
              <a:gd name="connsiteY5" fmla="*/ 1308800 h 1310449"/>
              <a:gd name="connsiteX6" fmla="*/ 923209 w 1442193"/>
              <a:gd name="connsiteY6" fmla="*/ 1185233 h 1310449"/>
              <a:gd name="connsiteX7" fmla="*/ 1306268 w 1442193"/>
              <a:gd name="connsiteY7" fmla="*/ 863957 h 1310449"/>
              <a:gd name="connsiteX8" fmla="*/ 1442193 w 1442193"/>
              <a:gd name="connsiteY8" fmla="*/ 616822 h 1310449"/>
              <a:gd name="connsiteX9" fmla="*/ 1306268 w 1442193"/>
              <a:gd name="connsiteY9" fmla="*/ 332617 h 1310449"/>
              <a:gd name="connsiteX10" fmla="*/ 997349 w 1442193"/>
              <a:gd name="connsiteY10" fmla="*/ 73125 h 1310449"/>
              <a:gd name="connsiteX11" fmla="*/ 688430 w 1442193"/>
              <a:gd name="connsiteY11" fmla="*/ 11341 h 1310449"/>
              <a:gd name="connsiteX12" fmla="*/ 295975 w 1442193"/>
              <a:gd name="connsiteY12" fmla="*/ 264589 h 1310449"/>
              <a:gd name="connsiteX0" fmla="*/ 305371 w 1442193"/>
              <a:gd name="connsiteY0" fmla="*/ 258476 h 1332161"/>
              <a:gd name="connsiteX1" fmla="*/ 58236 w 1442193"/>
              <a:gd name="connsiteY1" fmla="*/ 505611 h 1332161"/>
              <a:gd name="connsiteX2" fmla="*/ 8809 w 1442193"/>
              <a:gd name="connsiteY2" fmla="*/ 789817 h 1332161"/>
              <a:gd name="connsiteX3" fmla="*/ 194160 w 1442193"/>
              <a:gd name="connsiteY3" fmla="*/ 1036952 h 1332161"/>
              <a:gd name="connsiteX4" fmla="*/ 409888 w 1442193"/>
              <a:gd name="connsiteY4" fmla="*/ 1241353 h 1332161"/>
              <a:gd name="connsiteX5" fmla="*/ 627333 w 1442193"/>
              <a:gd name="connsiteY5" fmla="*/ 1331025 h 1332161"/>
              <a:gd name="connsiteX6" fmla="*/ 923209 w 1442193"/>
              <a:gd name="connsiteY6" fmla="*/ 1185233 h 1332161"/>
              <a:gd name="connsiteX7" fmla="*/ 1306268 w 1442193"/>
              <a:gd name="connsiteY7" fmla="*/ 863957 h 1332161"/>
              <a:gd name="connsiteX8" fmla="*/ 1442193 w 1442193"/>
              <a:gd name="connsiteY8" fmla="*/ 616822 h 1332161"/>
              <a:gd name="connsiteX9" fmla="*/ 1306268 w 1442193"/>
              <a:gd name="connsiteY9" fmla="*/ 332617 h 1332161"/>
              <a:gd name="connsiteX10" fmla="*/ 997349 w 1442193"/>
              <a:gd name="connsiteY10" fmla="*/ 73125 h 1332161"/>
              <a:gd name="connsiteX11" fmla="*/ 688430 w 1442193"/>
              <a:gd name="connsiteY11" fmla="*/ 11341 h 1332161"/>
              <a:gd name="connsiteX12" fmla="*/ 295975 w 1442193"/>
              <a:gd name="connsiteY12" fmla="*/ 264589 h 1332161"/>
              <a:gd name="connsiteX0" fmla="*/ 305371 w 1435843"/>
              <a:gd name="connsiteY0" fmla="*/ 258476 h 1332161"/>
              <a:gd name="connsiteX1" fmla="*/ 58236 w 1435843"/>
              <a:gd name="connsiteY1" fmla="*/ 505611 h 1332161"/>
              <a:gd name="connsiteX2" fmla="*/ 8809 w 1435843"/>
              <a:gd name="connsiteY2" fmla="*/ 789817 h 1332161"/>
              <a:gd name="connsiteX3" fmla="*/ 194160 w 1435843"/>
              <a:gd name="connsiteY3" fmla="*/ 1036952 h 1332161"/>
              <a:gd name="connsiteX4" fmla="*/ 409888 w 1435843"/>
              <a:gd name="connsiteY4" fmla="*/ 1241353 h 1332161"/>
              <a:gd name="connsiteX5" fmla="*/ 627333 w 1435843"/>
              <a:gd name="connsiteY5" fmla="*/ 1331025 h 1332161"/>
              <a:gd name="connsiteX6" fmla="*/ 923209 w 1435843"/>
              <a:gd name="connsiteY6" fmla="*/ 1185233 h 1332161"/>
              <a:gd name="connsiteX7" fmla="*/ 1306268 w 1435843"/>
              <a:gd name="connsiteY7" fmla="*/ 863957 h 1332161"/>
              <a:gd name="connsiteX8" fmla="*/ 1435843 w 1435843"/>
              <a:gd name="connsiteY8" fmla="*/ 623172 h 1332161"/>
              <a:gd name="connsiteX9" fmla="*/ 1306268 w 1435843"/>
              <a:gd name="connsiteY9" fmla="*/ 332617 h 1332161"/>
              <a:gd name="connsiteX10" fmla="*/ 997349 w 1435843"/>
              <a:gd name="connsiteY10" fmla="*/ 73125 h 1332161"/>
              <a:gd name="connsiteX11" fmla="*/ 688430 w 1435843"/>
              <a:gd name="connsiteY11" fmla="*/ 11341 h 1332161"/>
              <a:gd name="connsiteX12" fmla="*/ 295975 w 1435843"/>
              <a:gd name="connsiteY12" fmla="*/ 264589 h 1332161"/>
              <a:gd name="connsiteX0" fmla="*/ 305371 w 1435847"/>
              <a:gd name="connsiteY0" fmla="*/ 258622 h 1332307"/>
              <a:gd name="connsiteX1" fmla="*/ 58236 w 1435847"/>
              <a:gd name="connsiteY1" fmla="*/ 505757 h 1332307"/>
              <a:gd name="connsiteX2" fmla="*/ 8809 w 1435847"/>
              <a:gd name="connsiteY2" fmla="*/ 789963 h 1332307"/>
              <a:gd name="connsiteX3" fmla="*/ 194160 w 1435847"/>
              <a:gd name="connsiteY3" fmla="*/ 1037098 h 1332307"/>
              <a:gd name="connsiteX4" fmla="*/ 409888 w 1435847"/>
              <a:gd name="connsiteY4" fmla="*/ 1241499 h 1332307"/>
              <a:gd name="connsiteX5" fmla="*/ 627333 w 1435847"/>
              <a:gd name="connsiteY5" fmla="*/ 1331171 h 1332307"/>
              <a:gd name="connsiteX6" fmla="*/ 923209 w 1435847"/>
              <a:gd name="connsiteY6" fmla="*/ 1185379 h 1332307"/>
              <a:gd name="connsiteX7" fmla="*/ 1306268 w 1435847"/>
              <a:gd name="connsiteY7" fmla="*/ 864103 h 1332307"/>
              <a:gd name="connsiteX8" fmla="*/ 1435843 w 1435847"/>
              <a:gd name="connsiteY8" fmla="*/ 623318 h 1332307"/>
              <a:gd name="connsiteX9" fmla="*/ 1303093 w 1435847"/>
              <a:gd name="connsiteY9" fmla="*/ 339113 h 1332307"/>
              <a:gd name="connsiteX10" fmla="*/ 997349 w 1435847"/>
              <a:gd name="connsiteY10" fmla="*/ 73271 h 1332307"/>
              <a:gd name="connsiteX11" fmla="*/ 688430 w 1435847"/>
              <a:gd name="connsiteY11" fmla="*/ 11487 h 1332307"/>
              <a:gd name="connsiteX12" fmla="*/ 295975 w 1435847"/>
              <a:gd name="connsiteY12" fmla="*/ 264735 h 1332307"/>
              <a:gd name="connsiteX0" fmla="*/ 305371 w 1435847"/>
              <a:gd name="connsiteY0" fmla="*/ 257598 h 1331283"/>
              <a:gd name="connsiteX1" fmla="*/ 58236 w 1435847"/>
              <a:gd name="connsiteY1" fmla="*/ 504733 h 1331283"/>
              <a:gd name="connsiteX2" fmla="*/ 8809 w 1435847"/>
              <a:gd name="connsiteY2" fmla="*/ 788939 h 1331283"/>
              <a:gd name="connsiteX3" fmla="*/ 194160 w 1435847"/>
              <a:gd name="connsiteY3" fmla="*/ 1036074 h 1331283"/>
              <a:gd name="connsiteX4" fmla="*/ 409888 w 1435847"/>
              <a:gd name="connsiteY4" fmla="*/ 1240475 h 1331283"/>
              <a:gd name="connsiteX5" fmla="*/ 627333 w 1435847"/>
              <a:gd name="connsiteY5" fmla="*/ 1330147 h 1331283"/>
              <a:gd name="connsiteX6" fmla="*/ 923209 w 1435847"/>
              <a:gd name="connsiteY6" fmla="*/ 1184355 h 1331283"/>
              <a:gd name="connsiteX7" fmla="*/ 1306268 w 1435847"/>
              <a:gd name="connsiteY7" fmla="*/ 863079 h 1331283"/>
              <a:gd name="connsiteX8" fmla="*/ 1435843 w 1435847"/>
              <a:gd name="connsiteY8" fmla="*/ 622294 h 1331283"/>
              <a:gd name="connsiteX9" fmla="*/ 1303093 w 1435847"/>
              <a:gd name="connsiteY9" fmla="*/ 338089 h 1331283"/>
              <a:gd name="connsiteX10" fmla="*/ 1016399 w 1435847"/>
              <a:gd name="connsiteY10" fmla="*/ 77010 h 1331283"/>
              <a:gd name="connsiteX11" fmla="*/ 688430 w 1435847"/>
              <a:gd name="connsiteY11" fmla="*/ 10463 h 1331283"/>
              <a:gd name="connsiteX12" fmla="*/ 295975 w 1435847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16399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36043" h="1331283">
                <a:moveTo>
                  <a:pt x="305371" y="257598"/>
                </a:moveTo>
                <a:cubicBezTo>
                  <a:pt x="206517" y="336887"/>
                  <a:pt x="107663" y="416176"/>
                  <a:pt x="58236" y="504733"/>
                </a:cubicBezTo>
                <a:cubicBezTo>
                  <a:pt x="8809" y="593290"/>
                  <a:pt x="-13845" y="700382"/>
                  <a:pt x="8809" y="788939"/>
                </a:cubicBezTo>
                <a:cubicBezTo>
                  <a:pt x="31463" y="877496"/>
                  <a:pt x="127313" y="960818"/>
                  <a:pt x="194160" y="1036074"/>
                </a:cubicBezTo>
                <a:cubicBezTo>
                  <a:pt x="261007" y="1111330"/>
                  <a:pt x="337692" y="1191463"/>
                  <a:pt x="409888" y="1240475"/>
                </a:cubicBezTo>
                <a:cubicBezTo>
                  <a:pt x="482084" y="1289487"/>
                  <a:pt x="541780" y="1339500"/>
                  <a:pt x="627333" y="1330147"/>
                </a:cubicBezTo>
                <a:cubicBezTo>
                  <a:pt x="712886" y="1320794"/>
                  <a:pt x="810053" y="1262200"/>
                  <a:pt x="923209" y="1184355"/>
                </a:cubicBezTo>
                <a:cubicBezTo>
                  <a:pt x="1036365" y="1106510"/>
                  <a:pt x="1220829" y="956756"/>
                  <a:pt x="1306268" y="863079"/>
                </a:cubicBezTo>
                <a:cubicBezTo>
                  <a:pt x="1391707" y="769402"/>
                  <a:pt x="1439547" y="709792"/>
                  <a:pt x="1435843" y="622294"/>
                </a:cubicBezTo>
                <a:cubicBezTo>
                  <a:pt x="1432139" y="534796"/>
                  <a:pt x="1379351" y="452783"/>
                  <a:pt x="1284043" y="338089"/>
                </a:cubicBezTo>
                <a:cubicBezTo>
                  <a:pt x="1188735" y="223395"/>
                  <a:pt x="1106143" y="131614"/>
                  <a:pt x="1006874" y="77010"/>
                </a:cubicBezTo>
                <a:cubicBezTo>
                  <a:pt x="907605" y="22406"/>
                  <a:pt x="806913" y="-20654"/>
                  <a:pt x="688430" y="10463"/>
                </a:cubicBezTo>
                <a:cubicBezTo>
                  <a:pt x="569947" y="41580"/>
                  <a:pt x="455583" y="140143"/>
                  <a:pt x="295975" y="263711"/>
                </a:cubicBezTo>
              </a:path>
            </a:pathLst>
          </a:custGeom>
          <a:solidFill>
            <a:sysClr val="window" lastClr="FFFFFF">
              <a:lumMod val="65000"/>
            </a:sys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anchor="ctr"/>
          <a:lstStyle/>
          <a:p>
            <a:pPr marL="0" marR="0" lvl="0" indent="0" algn="ctr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81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Flexo Medium" pitchFamily="50" charset="0"/>
              <a:cs typeface="Arial" pitchFamily="34" charset="0"/>
            </a:endParaRPr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31E1FA92-1BC9-4C17-B64F-48342590205F}"/>
              </a:ext>
            </a:extLst>
          </p:cNvPr>
          <p:cNvSpPr>
            <a:spLocks noChangeAspect="1"/>
          </p:cNvSpPr>
          <p:nvPr userDrawn="1"/>
        </p:nvSpPr>
        <p:spPr>
          <a:xfrm>
            <a:off x="59408" y="6654391"/>
            <a:ext cx="218765" cy="161966"/>
          </a:xfrm>
          <a:custGeom>
            <a:avLst/>
            <a:gdLst>
              <a:gd name="connsiteX0" fmla="*/ 305371 w 1442193"/>
              <a:gd name="connsiteY0" fmla="*/ 260653 h 1311522"/>
              <a:gd name="connsiteX1" fmla="*/ 58236 w 1442193"/>
              <a:gd name="connsiteY1" fmla="*/ 507788 h 1311522"/>
              <a:gd name="connsiteX2" fmla="*/ 8809 w 1442193"/>
              <a:gd name="connsiteY2" fmla="*/ 791994 h 1311522"/>
              <a:gd name="connsiteX3" fmla="*/ 194160 w 1442193"/>
              <a:gd name="connsiteY3" fmla="*/ 1039129 h 1311522"/>
              <a:gd name="connsiteX4" fmla="*/ 428938 w 1442193"/>
              <a:gd name="connsiteY4" fmla="*/ 1224480 h 1311522"/>
              <a:gd name="connsiteX5" fmla="*/ 601933 w 1442193"/>
              <a:gd name="connsiteY5" fmla="*/ 1310977 h 1311522"/>
              <a:gd name="connsiteX6" fmla="*/ 923209 w 1442193"/>
              <a:gd name="connsiteY6" fmla="*/ 1187410 h 1311522"/>
              <a:gd name="connsiteX7" fmla="*/ 1306268 w 1442193"/>
              <a:gd name="connsiteY7" fmla="*/ 866134 h 1311522"/>
              <a:gd name="connsiteX8" fmla="*/ 1442193 w 1442193"/>
              <a:gd name="connsiteY8" fmla="*/ 618999 h 1311522"/>
              <a:gd name="connsiteX9" fmla="*/ 1306268 w 1442193"/>
              <a:gd name="connsiteY9" fmla="*/ 334794 h 1311522"/>
              <a:gd name="connsiteX10" fmla="*/ 997349 w 1442193"/>
              <a:gd name="connsiteY10" fmla="*/ 75302 h 1311522"/>
              <a:gd name="connsiteX11" fmla="*/ 688430 w 1442193"/>
              <a:gd name="connsiteY11" fmla="*/ 13518 h 1311522"/>
              <a:gd name="connsiteX12" fmla="*/ 243587 w 1442193"/>
              <a:gd name="connsiteY12" fmla="*/ 297723 h 1311522"/>
              <a:gd name="connsiteX0" fmla="*/ 305371 w 1442193"/>
              <a:gd name="connsiteY0" fmla="*/ 260653 h 1312626"/>
              <a:gd name="connsiteX1" fmla="*/ 58236 w 1442193"/>
              <a:gd name="connsiteY1" fmla="*/ 507788 h 1312626"/>
              <a:gd name="connsiteX2" fmla="*/ 8809 w 1442193"/>
              <a:gd name="connsiteY2" fmla="*/ 791994 h 1312626"/>
              <a:gd name="connsiteX3" fmla="*/ 194160 w 1442193"/>
              <a:gd name="connsiteY3" fmla="*/ 1039129 h 1312626"/>
              <a:gd name="connsiteX4" fmla="*/ 409888 w 1442193"/>
              <a:gd name="connsiteY4" fmla="*/ 1243530 h 1312626"/>
              <a:gd name="connsiteX5" fmla="*/ 601933 w 1442193"/>
              <a:gd name="connsiteY5" fmla="*/ 1310977 h 1312626"/>
              <a:gd name="connsiteX6" fmla="*/ 923209 w 1442193"/>
              <a:gd name="connsiteY6" fmla="*/ 1187410 h 1312626"/>
              <a:gd name="connsiteX7" fmla="*/ 1306268 w 1442193"/>
              <a:gd name="connsiteY7" fmla="*/ 866134 h 1312626"/>
              <a:gd name="connsiteX8" fmla="*/ 1442193 w 1442193"/>
              <a:gd name="connsiteY8" fmla="*/ 618999 h 1312626"/>
              <a:gd name="connsiteX9" fmla="*/ 1306268 w 1442193"/>
              <a:gd name="connsiteY9" fmla="*/ 334794 h 1312626"/>
              <a:gd name="connsiteX10" fmla="*/ 997349 w 1442193"/>
              <a:gd name="connsiteY10" fmla="*/ 75302 h 1312626"/>
              <a:gd name="connsiteX11" fmla="*/ 688430 w 1442193"/>
              <a:gd name="connsiteY11" fmla="*/ 13518 h 1312626"/>
              <a:gd name="connsiteX12" fmla="*/ 243587 w 1442193"/>
              <a:gd name="connsiteY12" fmla="*/ 297723 h 1312626"/>
              <a:gd name="connsiteX0" fmla="*/ 305371 w 1442193"/>
              <a:gd name="connsiteY0" fmla="*/ 260821 h 1312794"/>
              <a:gd name="connsiteX1" fmla="*/ 58236 w 1442193"/>
              <a:gd name="connsiteY1" fmla="*/ 507956 h 1312794"/>
              <a:gd name="connsiteX2" fmla="*/ 8809 w 1442193"/>
              <a:gd name="connsiteY2" fmla="*/ 792162 h 1312794"/>
              <a:gd name="connsiteX3" fmla="*/ 194160 w 1442193"/>
              <a:gd name="connsiteY3" fmla="*/ 1039297 h 1312794"/>
              <a:gd name="connsiteX4" fmla="*/ 409888 w 1442193"/>
              <a:gd name="connsiteY4" fmla="*/ 1243698 h 1312794"/>
              <a:gd name="connsiteX5" fmla="*/ 601933 w 1442193"/>
              <a:gd name="connsiteY5" fmla="*/ 1311145 h 1312794"/>
              <a:gd name="connsiteX6" fmla="*/ 923209 w 1442193"/>
              <a:gd name="connsiteY6" fmla="*/ 1187578 h 1312794"/>
              <a:gd name="connsiteX7" fmla="*/ 1306268 w 1442193"/>
              <a:gd name="connsiteY7" fmla="*/ 866302 h 1312794"/>
              <a:gd name="connsiteX8" fmla="*/ 1442193 w 1442193"/>
              <a:gd name="connsiteY8" fmla="*/ 619167 h 1312794"/>
              <a:gd name="connsiteX9" fmla="*/ 1306268 w 1442193"/>
              <a:gd name="connsiteY9" fmla="*/ 334962 h 1312794"/>
              <a:gd name="connsiteX10" fmla="*/ 997349 w 1442193"/>
              <a:gd name="connsiteY10" fmla="*/ 75470 h 1312794"/>
              <a:gd name="connsiteX11" fmla="*/ 688430 w 1442193"/>
              <a:gd name="connsiteY11" fmla="*/ 13686 h 1312794"/>
              <a:gd name="connsiteX12" fmla="*/ 260256 w 1442193"/>
              <a:gd name="connsiteY12" fmla="*/ 300272 h 1312794"/>
              <a:gd name="connsiteX0" fmla="*/ 305371 w 1442193"/>
              <a:gd name="connsiteY0" fmla="*/ 260654 h 1312627"/>
              <a:gd name="connsiteX1" fmla="*/ 58236 w 1442193"/>
              <a:gd name="connsiteY1" fmla="*/ 507789 h 1312627"/>
              <a:gd name="connsiteX2" fmla="*/ 8809 w 1442193"/>
              <a:gd name="connsiteY2" fmla="*/ 791995 h 1312627"/>
              <a:gd name="connsiteX3" fmla="*/ 194160 w 1442193"/>
              <a:gd name="connsiteY3" fmla="*/ 1039130 h 1312627"/>
              <a:gd name="connsiteX4" fmla="*/ 409888 w 1442193"/>
              <a:gd name="connsiteY4" fmla="*/ 1243531 h 1312627"/>
              <a:gd name="connsiteX5" fmla="*/ 601933 w 1442193"/>
              <a:gd name="connsiteY5" fmla="*/ 1310978 h 1312627"/>
              <a:gd name="connsiteX6" fmla="*/ 923209 w 1442193"/>
              <a:gd name="connsiteY6" fmla="*/ 1187411 h 1312627"/>
              <a:gd name="connsiteX7" fmla="*/ 1306268 w 1442193"/>
              <a:gd name="connsiteY7" fmla="*/ 866135 h 1312627"/>
              <a:gd name="connsiteX8" fmla="*/ 1442193 w 1442193"/>
              <a:gd name="connsiteY8" fmla="*/ 619000 h 1312627"/>
              <a:gd name="connsiteX9" fmla="*/ 1306268 w 1442193"/>
              <a:gd name="connsiteY9" fmla="*/ 334795 h 1312627"/>
              <a:gd name="connsiteX10" fmla="*/ 997349 w 1442193"/>
              <a:gd name="connsiteY10" fmla="*/ 75303 h 1312627"/>
              <a:gd name="connsiteX11" fmla="*/ 688430 w 1442193"/>
              <a:gd name="connsiteY11" fmla="*/ 13519 h 1312627"/>
              <a:gd name="connsiteX12" fmla="*/ 253112 w 1442193"/>
              <a:gd name="connsiteY12" fmla="*/ 297723 h 1312627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295974 w 1442193"/>
              <a:gd name="connsiteY12" fmla="*/ 254400 h 1309785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307881 w 1442193"/>
              <a:gd name="connsiteY12" fmla="*/ 254400 h 1309785"/>
              <a:gd name="connsiteX0" fmla="*/ 305371 w 1442193"/>
              <a:gd name="connsiteY0" fmla="*/ 258143 h 1310116"/>
              <a:gd name="connsiteX1" fmla="*/ 58236 w 1442193"/>
              <a:gd name="connsiteY1" fmla="*/ 505278 h 1310116"/>
              <a:gd name="connsiteX2" fmla="*/ 8809 w 1442193"/>
              <a:gd name="connsiteY2" fmla="*/ 789484 h 1310116"/>
              <a:gd name="connsiteX3" fmla="*/ 194160 w 1442193"/>
              <a:gd name="connsiteY3" fmla="*/ 1036619 h 1310116"/>
              <a:gd name="connsiteX4" fmla="*/ 409888 w 1442193"/>
              <a:gd name="connsiteY4" fmla="*/ 1241020 h 1310116"/>
              <a:gd name="connsiteX5" fmla="*/ 601933 w 1442193"/>
              <a:gd name="connsiteY5" fmla="*/ 1308467 h 1310116"/>
              <a:gd name="connsiteX6" fmla="*/ 923209 w 1442193"/>
              <a:gd name="connsiteY6" fmla="*/ 1184900 h 1310116"/>
              <a:gd name="connsiteX7" fmla="*/ 1306268 w 1442193"/>
              <a:gd name="connsiteY7" fmla="*/ 863624 h 1310116"/>
              <a:gd name="connsiteX8" fmla="*/ 1442193 w 1442193"/>
              <a:gd name="connsiteY8" fmla="*/ 616489 h 1310116"/>
              <a:gd name="connsiteX9" fmla="*/ 1306268 w 1442193"/>
              <a:gd name="connsiteY9" fmla="*/ 332284 h 1310116"/>
              <a:gd name="connsiteX10" fmla="*/ 997349 w 1442193"/>
              <a:gd name="connsiteY10" fmla="*/ 72792 h 1310116"/>
              <a:gd name="connsiteX11" fmla="*/ 688430 w 1442193"/>
              <a:gd name="connsiteY11" fmla="*/ 11008 h 1310116"/>
              <a:gd name="connsiteX12" fmla="*/ 298356 w 1442193"/>
              <a:gd name="connsiteY12" fmla="*/ 259493 h 1310116"/>
              <a:gd name="connsiteX0" fmla="*/ 305371 w 1442193"/>
              <a:gd name="connsiteY0" fmla="*/ 258476 h 1310449"/>
              <a:gd name="connsiteX1" fmla="*/ 58236 w 1442193"/>
              <a:gd name="connsiteY1" fmla="*/ 505611 h 1310449"/>
              <a:gd name="connsiteX2" fmla="*/ 8809 w 1442193"/>
              <a:gd name="connsiteY2" fmla="*/ 789817 h 1310449"/>
              <a:gd name="connsiteX3" fmla="*/ 194160 w 1442193"/>
              <a:gd name="connsiteY3" fmla="*/ 1036952 h 1310449"/>
              <a:gd name="connsiteX4" fmla="*/ 409888 w 1442193"/>
              <a:gd name="connsiteY4" fmla="*/ 1241353 h 1310449"/>
              <a:gd name="connsiteX5" fmla="*/ 601933 w 1442193"/>
              <a:gd name="connsiteY5" fmla="*/ 1308800 h 1310449"/>
              <a:gd name="connsiteX6" fmla="*/ 923209 w 1442193"/>
              <a:gd name="connsiteY6" fmla="*/ 1185233 h 1310449"/>
              <a:gd name="connsiteX7" fmla="*/ 1306268 w 1442193"/>
              <a:gd name="connsiteY7" fmla="*/ 863957 h 1310449"/>
              <a:gd name="connsiteX8" fmla="*/ 1442193 w 1442193"/>
              <a:gd name="connsiteY8" fmla="*/ 616822 h 1310449"/>
              <a:gd name="connsiteX9" fmla="*/ 1306268 w 1442193"/>
              <a:gd name="connsiteY9" fmla="*/ 332617 h 1310449"/>
              <a:gd name="connsiteX10" fmla="*/ 997349 w 1442193"/>
              <a:gd name="connsiteY10" fmla="*/ 73125 h 1310449"/>
              <a:gd name="connsiteX11" fmla="*/ 688430 w 1442193"/>
              <a:gd name="connsiteY11" fmla="*/ 11341 h 1310449"/>
              <a:gd name="connsiteX12" fmla="*/ 295975 w 1442193"/>
              <a:gd name="connsiteY12" fmla="*/ 264589 h 1310449"/>
              <a:gd name="connsiteX0" fmla="*/ 305371 w 1442193"/>
              <a:gd name="connsiteY0" fmla="*/ 258476 h 1332161"/>
              <a:gd name="connsiteX1" fmla="*/ 58236 w 1442193"/>
              <a:gd name="connsiteY1" fmla="*/ 505611 h 1332161"/>
              <a:gd name="connsiteX2" fmla="*/ 8809 w 1442193"/>
              <a:gd name="connsiteY2" fmla="*/ 789817 h 1332161"/>
              <a:gd name="connsiteX3" fmla="*/ 194160 w 1442193"/>
              <a:gd name="connsiteY3" fmla="*/ 1036952 h 1332161"/>
              <a:gd name="connsiteX4" fmla="*/ 409888 w 1442193"/>
              <a:gd name="connsiteY4" fmla="*/ 1241353 h 1332161"/>
              <a:gd name="connsiteX5" fmla="*/ 627333 w 1442193"/>
              <a:gd name="connsiteY5" fmla="*/ 1331025 h 1332161"/>
              <a:gd name="connsiteX6" fmla="*/ 923209 w 1442193"/>
              <a:gd name="connsiteY6" fmla="*/ 1185233 h 1332161"/>
              <a:gd name="connsiteX7" fmla="*/ 1306268 w 1442193"/>
              <a:gd name="connsiteY7" fmla="*/ 863957 h 1332161"/>
              <a:gd name="connsiteX8" fmla="*/ 1442193 w 1442193"/>
              <a:gd name="connsiteY8" fmla="*/ 616822 h 1332161"/>
              <a:gd name="connsiteX9" fmla="*/ 1306268 w 1442193"/>
              <a:gd name="connsiteY9" fmla="*/ 332617 h 1332161"/>
              <a:gd name="connsiteX10" fmla="*/ 997349 w 1442193"/>
              <a:gd name="connsiteY10" fmla="*/ 73125 h 1332161"/>
              <a:gd name="connsiteX11" fmla="*/ 688430 w 1442193"/>
              <a:gd name="connsiteY11" fmla="*/ 11341 h 1332161"/>
              <a:gd name="connsiteX12" fmla="*/ 295975 w 1442193"/>
              <a:gd name="connsiteY12" fmla="*/ 264589 h 1332161"/>
              <a:gd name="connsiteX0" fmla="*/ 305371 w 1435843"/>
              <a:gd name="connsiteY0" fmla="*/ 258476 h 1332161"/>
              <a:gd name="connsiteX1" fmla="*/ 58236 w 1435843"/>
              <a:gd name="connsiteY1" fmla="*/ 505611 h 1332161"/>
              <a:gd name="connsiteX2" fmla="*/ 8809 w 1435843"/>
              <a:gd name="connsiteY2" fmla="*/ 789817 h 1332161"/>
              <a:gd name="connsiteX3" fmla="*/ 194160 w 1435843"/>
              <a:gd name="connsiteY3" fmla="*/ 1036952 h 1332161"/>
              <a:gd name="connsiteX4" fmla="*/ 409888 w 1435843"/>
              <a:gd name="connsiteY4" fmla="*/ 1241353 h 1332161"/>
              <a:gd name="connsiteX5" fmla="*/ 627333 w 1435843"/>
              <a:gd name="connsiteY5" fmla="*/ 1331025 h 1332161"/>
              <a:gd name="connsiteX6" fmla="*/ 923209 w 1435843"/>
              <a:gd name="connsiteY6" fmla="*/ 1185233 h 1332161"/>
              <a:gd name="connsiteX7" fmla="*/ 1306268 w 1435843"/>
              <a:gd name="connsiteY7" fmla="*/ 863957 h 1332161"/>
              <a:gd name="connsiteX8" fmla="*/ 1435843 w 1435843"/>
              <a:gd name="connsiteY8" fmla="*/ 623172 h 1332161"/>
              <a:gd name="connsiteX9" fmla="*/ 1306268 w 1435843"/>
              <a:gd name="connsiteY9" fmla="*/ 332617 h 1332161"/>
              <a:gd name="connsiteX10" fmla="*/ 997349 w 1435843"/>
              <a:gd name="connsiteY10" fmla="*/ 73125 h 1332161"/>
              <a:gd name="connsiteX11" fmla="*/ 688430 w 1435843"/>
              <a:gd name="connsiteY11" fmla="*/ 11341 h 1332161"/>
              <a:gd name="connsiteX12" fmla="*/ 295975 w 1435843"/>
              <a:gd name="connsiteY12" fmla="*/ 264589 h 1332161"/>
              <a:gd name="connsiteX0" fmla="*/ 305371 w 1435847"/>
              <a:gd name="connsiteY0" fmla="*/ 258622 h 1332307"/>
              <a:gd name="connsiteX1" fmla="*/ 58236 w 1435847"/>
              <a:gd name="connsiteY1" fmla="*/ 505757 h 1332307"/>
              <a:gd name="connsiteX2" fmla="*/ 8809 w 1435847"/>
              <a:gd name="connsiteY2" fmla="*/ 789963 h 1332307"/>
              <a:gd name="connsiteX3" fmla="*/ 194160 w 1435847"/>
              <a:gd name="connsiteY3" fmla="*/ 1037098 h 1332307"/>
              <a:gd name="connsiteX4" fmla="*/ 409888 w 1435847"/>
              <a:gd name="connsiteY4" fmla="*/ 1241499 h 1332307"/>
              <a:gd name="connsiteX5" fmla="*/ 627333 w 1435847"/>
              <a:gd name="connsiteY5" fmla="*/ 1331171 h 1332307"/>
              <a:gd name="connsiteX6" fmla="*/ 923209 w 1435847"/>
              <a:gd name="connsiteY6" fmla="*/ 1185379 h 1332307"/>
              <a:gd name="connsiteX7" fmla="*/ 1306268 w 1435847"/>
              <a:gd name="connsiteY7" fmla="*/ 864103 h 1332307"/>
              <a:gd name="connsiteX8" fmla="*/ 1435843 w 1435847"/>
              <a:gd name="connsiteY8" fmla="*/ 623318 h 1332307"/>
              <a:gd name="connsiteX9" fmla="*/ 1303093 w 1435847"/>
              <a:gd name="connsiteY9" fmla="*/ 339113 h 1332307"/>
              <a:gd name="connsiteX10" fmla="*/ 997349 w 1435847"/>
              <a:gd name="connsiteY10" fmla="*/ 73271 h 1332307"/>
              <a:gd name="connsiteX11" fmla="*/ 688430 w 1435847"/>
              <a:gd name="connsiteY11" fmla="*/ 11487 h 1332307"/>
              <a:gd name="connsiteX12" fmla="*/ 295975 w 1435847"/>
              <a:gd name="connsiteY12" fmla="*/ 264735 h 1332307"/>
              <a:gd name="connsiteX0" fmla="*/ 305371 w 1435847"/>
              <a:gd name="connsiteY0" fmla="*/ 257598 h 1331283"/>
              <a:gd name="connsiteX1" fmla="*/ 58236 w 1435847"/>
              <a:gd name="connsiteY1" fmla="*/ 504733 h 1331283"/>
              <a:gd name="connsiteX2" fmla="*/ 8809 w 1435847"/>
              <a:gd name="connsiteY2" fmla="*/ 788939 h 1331283"/>
              <a:gd name="connsiteX3" fmla="*/ 194160 w 1435847"/>
              <a:gd name="connsiteY3" fmla="*/ 1036074 h 1331283"/>
              <a:gd name="connsiteX4" fmla="*/ 409888 w 1435847"/>
              <a:gd name="connsiteY4" fmla="*/ 1240475 h 1331283"/>
              <a:gd name="connsiteX5" fmla="*/ 627333 w 1435847"/>
              <a:gd name="connsiteY5" fmla="*/ 1330147 h 1331283"/>
              <a:gd name="connsiteX6" fmla="*/ 923209 w 1435847"/>
              <a:gd name="connsiteY6" fmla="*/ 1184355 h 1331283"/>
              <a:gd name="connsiteX7" fmla="*/ 1306268 w 1435847"/>
              <a:gd name="connsiteY7" fmla="*/ 863079 h 1331283"/>
              <a:gd name="connsiteX8" fmla="*/ 1435843 w 1435847"/>
              <a:gd name="connsiteY8" fmla="*/ 622294 h 1331283"/>
              <a:gd name="connsiteX9" fmla="*/ 1303093 w 1435847"/>
              <a:gd name="connsiteY9" fmla="*/ 338089 h 1331283"/>
              <a:gd name="connsiteX10" fmla="*/ 1016399 w 1435847"/>
              <a:gd name="connsiteY10" fmla="*/ 77010 h 1331283"/>
              <a:gd name="connsiteX11" fmla="*/ 688430 w 1435847"/>
              <a:gd name="connsiteY11" fmla="*/ 10463 h 1331283"/>
              <a:gd name="connsiteX12" fmla="*/ 295975 w 1435847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16399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36043" h="1331283">
                <a:moveTo>
                  <a:pt x="305371" y="257598"/>
                </a:moveTo>
                <a:cubicBezTo>
                  <a:pt x="206517" y="336887"/>
                  <a:pt x="107663" y="416176"/>
                  <a:pt x="58236" y="504733"/>
                </a:cubicBezTo>
                <a:cubicBezTo>
                  <a:pt x="8809" y="593290"/>
                  <a:pt x="-13845" y="700382"/>
                  <a:pt x="8809" y="788939"/>
                </a:cubicBezTo>
                <a:cubicBezTo>
                  <a:pt x="31463" y="877496"/>
                  <a:pt x="127313" y="960818"/>
                  <a:pt x="194160" y="1036074"/>
                </a:cubicBezTo>
                <a:cubicBezTo>
                  <a:pt x="261007" y="1111330"/>
                  <a:pt x="337692" y="1191463"/>
                  <a:pt x="409888" y="1240475"/>
                </a:cubicBezTo>
                <a:cubicBezTo>
                  <a:pt x="482084" y="1289487"/>
                  <a:pt x="541780" y="1339500"/>
                  <a:pt x="627333" y="1330147"/>
                </a:cubicBezTo>
                <a:cubicBezTo>
                  <a:pt x="712886" y="1320794"/>
                  <a:pt x="810053" y="1262200"/>
                  <a:pt x="923209" y="1184355"/>
                </a:cubicBezTo>
                <a:cubicBezTo>
                  <a:pt x="1036365" y="1106510"/>
                  <a:pt x="1220829" y="956756"/>
                  <a:pt x="1306268" y="863079"/>
                </a:cubicBezTo>
                <a:cubicBezTo>
                  <a:pt x="1391707" y="769402"/>
                  <a:pt x="1439547" y="709792"/>
                  <a:pt x="1435843" y="622294"/>
                </a:cubicBezTo>
                <a:cubicBezTo>
                  <a:pt x="1432139" y="534796"/>
                  <a:pt x="1379351" y="452783"/>
                  <a:pt x="1284043" y="338089"/>
                </a:cubicBezTo>
                <a:cubicBezTo>
                  <a:pt x="1188735" y="223395"/>
                  <a:pt x="1106143" y="131614"/>
                  <a:pt x="1006874" y="77010"/>
                </a:cubicBezTo>
                <a:cubicBezTo>
                  <a:pt x="907605" y="22406"/>
                  <a:pt x="806913" y="-20654"/>
                  <a:pt x="688430" y="10463"/>
                </a:cubicBezTo>
                <a:cubicBezTo>
                  <a:pt x="569947" y="41580"/>
                  <a:pt x="455583" y="140143"/>
                  <a:pt x="295975" y="263711"/>
                </a:cubicBezTo>
              </a:path>
            </a:pathLst>
          </a:custGeom>
          <a:solidFill>
            <a:srgbClr val="70AD47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anchor="ctr"/>
          <a:lstStyle/>
          <a:p>
            <a:pPr marL="0" marR="0" lvl="0" indent="0" algn="ctr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81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lexo Medium" pitchFamily="50" charset="0"/>
              <a:cs typeface="Arial" pitchFamily="34" charset="0"/>
            </a:endParaRP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C8F25962-4DD2-4877-89E2-031A1085D340}"/>
              </a:ext>
            </a:extLst>
          </p:cNvPr>
          <p:cNvCxnSpPr/>
          <p:nvPr userDrawn="1"/>
        </p:nvCxnSpPr>
        <p:spPr>
          <a:xfrm>
            <a:off x="4458754" y="6735374"/>
            <a:ext cx="345595" cy="0"/>
          </a:xfrm>
          <a:prstGeom prst="line">
            <a:avLst/>
          </a:prstGeom>
          <a:noFill/>
          <a:ln w="57150" cap="flat" cmpd="sng" algn="ctr">
            <a:solidFill>
              <a:schemeClr val="accent3"/>
            </a:solidFill>
            <a:prstDash val="solid"/>
            <a:miter lim="800000"/>
          </a:ln>
          <a:effectLst/>
        </p:spPr>
      </p:cxnSp>
      <p:sp>
        <p:nvSpPr>
          <p:cNvPr id="20" name="92 CuadroTexto">
            <a:extLst>
              <a:ext uri="{FF2B5EF4-FFF2-40B4-BE49-F238E27FC236}">
                <a16:creationId xmlns:a16="http://schemas.microsoft.com/office/drawing/2014/main" id="{A3A72481-76EA-4114-AD6E-D7674031D7F4}"/>
              </a:ext>
            </a:extLst>
          </p:cNvPr>
          <p:cNvSpPr txBox="1"/>
          <p:nvPr userDrawn="1"/>
        </p:nvSpPr>
        <p:spPr>
          <a:xfrm>
            <a:off x="4751588" y="6624597"/>
            <a:ext cx="6926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254061"/>
                </a:solidFill>
                <a:latin typeface="Flexo Medium" pitchFamily="50" charset="0"/>
              </a:defRPr>
            </a:lvl1pPr>
          </a:lstStyle>
          <a:p>
            <a:pPr marL="0" marR="0" lvl="0" indent="0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 err="1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Baseline</a:t>
            </a:r>
            <a:endParaRPr kumimoji="0" lang="es-PE" sz="900" b="0" i="0" u="none" strike="noStrike" kern="0" cap="none" spc="0" normalizeH="0" baseline="0" noProof="0">
              <a:ln>
                <a:noFill/>
              </a:ln>
              <a:solidFill>
                <a:srgbClr val="254061"/>
              </a:solidFill>
              <a:effectLst/>
              <a:uLnTx/>
              <a:uFillTx/>
              <a:latin typeface="Flexo Medium" pitchFamily="50" charset="0"/>
            </a:endParaRPr>
          </a:p>
        </p:txBody>
      </p:sp>
      <p:sp>
        <p:nvSpPr>
          <p:cNvPr id="21" name="92 CuadroTexto">
            <a:extLst>
              <a:ext uri="{FF2B5EF4-FFF2-40B4-BE49-F238E27FC236}">
                <a16:creationId xmlns:a16="http://schemas.microsoft.com/office/drawing/2014/main" id="{995595FC-3027-4AEE-8938-13B01F7C7694}"/>
              </a:ext>
            </a:extLst>
          </p:cNvPr>
          <p:cNvSpPr txBox="1"/>
          <p:nvPr userDrawn="1"/>
        </p:nvSpPr>
        <p:spPr>
          <a:xfrm>
            <a:off x="3403981" y="6624597"/>
            <a:ext cx="10631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254061"/>
                </a:solidFill>
                <a:latin typeface="Flexo Medium" pitchFamily="50" charset="0"/>
              </a:defRPr>
            </a:lvl1pPr>
          </a:lstStyle>
          <a:p>
            <a:pPr marL="0" marR="0" lvl="0" indent="0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900" b="0" i="0" u="none" strike="noStrike" kern="0" cap="none" spc="0" normalizeH="0" baseline="0" noProof="0" err="1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Poy</a:t>
            </a:r>
            <a:r>
              <a:rPr kumimoji="0" lang="es-PE" sz="900" b="0" i="0" u="none" strike="noStrike" kern="0" cap="none" spc="0" normalizeH="0" baseline="0" noProof="0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Flexo Medium" pitchFamily="50" charset="0"/>
              </a:rPr>
              <a:t>. Alto Nivel</a:t>
            </a:r>
          </a:p>
        </p:txBody>
      </p:sp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9E166062-8053-437C-85D0-A1A46D9CBEF8}"/>
              </a:ext>
            </a:extLst>
          </p:cNvPr>
          <p:cNvSpPr>
            <a:spLocks noChangeAspect="1"/>
          </p:cNvSpPr>
          <p:nvPr userDrawn="1"/>
        </p:nvSpPr>
        <p:spPr>
          <a:xfrm>
            <a:off x="3211138" y="6654391"/>
            <a:ext cx="218765" cy="161966"/>
          </a:xfrm>
          <a:custGeom>
            <a:avLst/>
            <a:gdLst>
              <a:gd name="connsiteX0" fmla="*/ 305371 w 1442193"/>
              <a:gd name="connsiteY0" fmla="*/ 260653 h 1311522"/>
              <a:gd name="connsiteX1" fmla="*/ 58236 w 1442193"/>
              <a:gd name="connsiteY1" fmla="*/ 507788 h 1311522"/>
              <a:gd name="connsiteX2" fmla="*/ 8809 w 1442193"/>
              <a:gd name="connsiteY2" fmla="*/ 791994 h 1311522"/>
              <a:gd name="connsiteX3" fmla="*/ 194160 w 1442193"/>
              <a:gd name="connsiteY3" fmla="*/ 1039129 h 1311522"/>
              <a:gd name="connsiteX4" fmla="*/ 428938 w 1442193"/>
              <a:gd name="connsiteY4" fmla="*/ 1224480 h 1311522"/>
              <a:gd name="connsiteX5" fmla="*/ 601933 w 1442193"/>
              <a:gd name="connsiteY5" fmla="*/ 1310977 h 1311522"/>
              <a:gd name="connsiteX6" fmla="*/ 923209 w 1442193"/>
              <a:gd name="connsiteY6" fmla="*/ 1187410 h 1311522"/>
              <a:gd name="connsiteX7" fmla="*/ 1306268 w 1442193"/>
              <a:gd name="connsiteY7" fmla="*/ 866134 h 1311522"/>
              <a:gd name="connsiteX8" fmla="*/ 1442193 w 1442193"/>
              <a:gd name="connsiteY8" fmla="*/ 618999 h 1311522"/>
              <a:gd name="connsiteX9" fmla="*/ 1306268 w 1442193"/>
              <a:gd name="connsiteY9" fmla="*/ 334794 h 1311522"/>
              <a:gd name="connsiteX10" fmla="*/ 997349 w 1442193"/>
              <a:gd name="connsiteY10" fmla="*/ 75302 h 1311522"/>
              <a:gd name="connsiteX11" fmla="*/ 688430 w 1442193"/>
              <a:gd name="connsiteY11" fmla="*/ 13518 h 1311522"/>
              <a:gd name="connsiteX12" fmla="*/ 243587 w 1442193"/>
              <a:gd name="connsiteY12" fmla="*/ 297723 h 1311522"/>
              <a:gd name="connsiteX0" fmla="*/ 305371 w 1442193"/>
              <a:gd name="connsiteY0" fmla="*/ 260653 h 1312626"/>
              <a:gd name="connsiteX1" fmla="*/ 58236 w 1442193"/>
              <a:gd name="connsiteY1" fmla="*/ 507788 h 1312626"/>
              <a:gd name="connsiteX2" fmla="*/ 8809 w 1442193"/>
              <a:gd name="connsiteY2" fmla="*/ 791994 h 1312626"/>
              <a:gd name="connsiteX3" fmla="*/ 194160 w 1442193"/>
              <a:gd name="connsiteY3" fmla="*/ 1039129 h 1312626"/>
              <a:gd name="connsiteX4" fmla="*/ 409888 w 1442193"/>
              <a:gd name="connsiteY4" fmla="*/ 1243530 h 1312626"/>
              <a:gd name="connsiteX5" fmla="*/ 601933 w 1442193"/>
              <a:gd name="connsiteY5" fmla="*/ 1310977 h 1312626"/>
              <a:gd name="connsiteX6" fmla="*/ 923209 w 1442193"/>
              <a:gd name="connsiteY6" fmla="*/ 1187410 h 1312626"/>
              <a:gd name="connsiteX7" fmla="*/ 1306268 w 1442193"/>
              <a:gd name="connsiteY7" fmla="*/ 866134 h 1312626"/>
              <a:gd name="connsiteX8" fmla="*/ 1442193 w 1442193"/>
              <a:gd name="connsiteY8" fmla="*/ 618999 h 1312626"/>
              <a:gd name="connsiteX9" fmla="*/ 1306268 w 1442193"/>
              <a:gd name="connsiteY9" fmla="*/ 334794 h 1312626"/>
              <a:gd name="connsiteX10" fmla="*/ 997349 w 1442193"/>
              <a:gd name="connsiteY10" fmla="*/ 75302 h 1312626"/>
              <a:gd name="connsiteX11" fmla="*/ 688430 w 1442193"/>
              <a:gd name="connsiteY11" fmla="*/ 13518 h 1312626"/>
              <a:gd name="connsiteX12" fmla="*/ 243587 w 1442193"/>
              <a:gd name="connsiteY12" fmla="*/ 297723 h 1312626"/>
              <a:gd name="connsiteX0" fmla="*/ 305371 w 1442193"/>
              <a:gd name="connsiteY0" fmla="*/ 260821 h 1312794"/>
              <a:gd name="connsiteX1" fmla="*/ 58236 w 1442193"/>
              <a:gd name="connsiteY1" fmla="*/ 507956 h 1312794"/>
              <a:gd name="connsiteX2" fmla="*/ 8809 w 1442193"/>
              <a:gd name="connsiteY2" fmla="*/ 792162 h 1312794"/>
              <a:gd name="connsiteX3" fmla="*/ 194160 w 1442193"/>
              <a:gd name="connsiteY3" fmla="*/ 1039297 h 1312794"/>
              <a:gd name="connsiteX4" fmla="*/ 409888 w 1442193"/>
              <a:gd name="connsiteY4" fmla="*/ 1243698 h 1312794"/>
              <a:gd name="connsiteX5" fmla="*/ 601933 w 1442193"/>
              <a:gd name="connsiteY5" fmla="*/ 1311145 h 1312794"/>
              <a:gd name="connsiteX6" fmla="*/ 923209 w 1442193"/>
              <a:gd name="connsiteY6" fmla="*/ 1187578 h 1312794"/>
              <a:gd name="connsiteX7" fmla="*/ 1306268 w 1442193"/>
              <a:gd name="connsiteY7" fmla="*/ 866302 h 1312794"/>
              <a:gd name="connsiteX8" fmla="*/ 1442193 w 1442193"/>
              <a:gd name="connsiteY8" fmla="*/ 619167 h 1312794"/>
              <a:gd name="connsiteX9" fmla="*/ 1306268 w 1442193"/>
              <a:gd name="connsiteY9" fmla="*/ 334962 h 1312794"/>
              <a:gd name="connsiteX10" fmla="*/ 997349 w 1442193"/>
              <a:gd name="connsiteY10" fmla="*/ 75470 h 1312794"/>
              <a:gd name="connsiteX11" fmla="*/ 688430 w 1442193"/>
              <a:gd name="connsiteY11" fmla="*/ 13686 h 1312794"/>
              <a:gd name="connsiteX12" fmla="*/ 260256 w 1442193"/>
              <a:gd name="connsiteY12" fmla="*/ 300272 h 1312794"/>
              <a:gd name="connsiteX0" fmla="*/ 305371 w 1442193"/>
              <a:gd name="connsiteY0" fmla="*/ 260654 h 1312627"/>
              <a:gd name="connsiteX1" fmla="*/ 58236 w 1442193"/>
              <a:gd name="connsiteY1" fmla="*/ 507789 h 1312627"/>
              <a:gd name="connsiteX2" fmla="*/ 8809 w 1442193"/>
              <a:gd name="connsiteY2" fmla="*/ 791995 h 1312627"/>
              <a:gd name="connsiteX3" fmla="*/ 194160 w 1442193"/>
              <a:gd name="connsiteY3" fmla="*/ 1039130 h 1312627"/>
              <a:gd name="connsiteX4" fmla="*/ 409888 w 1442193"/>
              <a:gd name="connsiteY4" fmla="*/ 1243531 h 1312627"/>
              <a:gd name="connsiteX5" fmla="*/ 601933 w 1442193"/>
              <a:gd name="connsiteY5" fmla="*/ 1310978 h 1312627"/>
              <a:gd name="connsiteX6" fmla="*/ 923209 w 1442193"/>
              <a:gd name="connsiteY6" fmla="*/ 1187411 h 1312627"/>
              <a:gd name="connsiteX7" fmla="*/ 1306268 w 1442193"/>
              <a:gd name="connsiteY7" fmla="*/ 866135 h 1312627"/>
              <a:gd name="connsiteX8" fmla="*/ 1442193 w 1442193"/>
              <a:gd name="connsiteY8" fmla="*/ 619000 h 1312627"/>
              <a:gd name="connsiteX9" fmla="*/ 1306268 w 1442193"/>
              <a:gd name="connsiteY9" fmla="*/ 334795 h 1312627"/>
              <a:gd name="connsiteX10" fmla="*/ 997349 w 1442193"/>
              <a:gd name="connsiteY10" fmla="*/ 75303 h 1312627"/>
              <a:gd name="connsiteX11" fmla="*/ 688430 w 1442193"/>
              <a:gd name="connsiteY11" fmla="*/ 13519 h 1312627"/>
              <a:gd name="connsiteX12" fmla="*/ 253112 w 1442193"/>
              <a:gd name="connsiteY12" fmla="*/ 297723 h 1312627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295974 w 1442193"/>
              <a:gd name="connsiteY12" fmla="*/ 254400 h 1309785"/>
              <a:gd name="connsiteX0" fmla="*/ 305371 w 1442193"/>
              <a:gd name="connsiteY0" fmla="*/ 257812 h 1309785"/>
              <a:gd name="connsiteX1" fmla="*/ 58236 w 1442193"/>
              <a:gd name="connsiteY1" fmla="*/ 504947 h 1309785"/>
              <a:gd name="connsiteX2" fmla="*/ 8809 w 1442193"/>
              <a:gd name="connsiteY2" fmla="*/ 789153 h 1309785"/>
              <a:gd name="connsiteX3" fmla="*/ 194160 w 1442193"/>
              <a:gd name="connsiteY3" fmla="*/ 1036288 h 1309785"/>
              <a:gd name="connsiteX4" fmla="*/ 409888 w 1442193"/>
              <a:gd name="connsiteY4" fmla="*/ 1240689 h 1309785"/>
              <a:gd name="connsiteX5" fmla="*/ 601933 w 1442193"/>
              <a:gd name="connsiteY5" fmla="*/ 1308136 h 1309785"/>
              <a:gd name="connsiteX6" fmla="*/ 923209 w 1442193"/>
              <a:gd name="connsiteY6" fmla="*/ 1184569 h 1309785"/>
              <a:gd name="connsiteX7" fmla="*/ 1306268 w 1442193"/>
              <a:gd name="connsiteY7" fmla="*/ 863293 h 1309785"/>
              <a:gd name="connsiteX8" fmla="*/ 1442193 w 1442193"/>
              <a:gd name="connsiteY8" fmla="*/ 616158 h 1309785"/>
              <a:gd name="connsiteX9" fmla="*/ 1306268 w 1442193"/>
              <a:gd name="connsiteY9" fmla="*/ 331953 h 1309785"/>
              <a:gd name="connsiteX10" fmla="*/ 997349 w 1442193"/>
              <a:gd name="connsiteY10" fmla="*/ 72461 h 1309785"/>
              <a:gd name="connsiteX11" fmla="*/ 688430 w 1442193"/>
              <a:gd name="connsiteY11" fmla="*/ 10677 h 1309785"/>
              <a:gd name="connsiteX12" fmla="*/ 307881 w 1442193"/>
              <a:gd name="connsiteY12" fmla="*/ 254400 h 1309785"/>
              <a:gd name="connsiteX0" fmla="*/ 305371 w 1442193"/>
              <a:gd name="connsiteY0" fmla="*/ 258143 h 1310116"/>
              <a:gd name="connsiteX1" fmla="*/ 58236 w 1442193"/>
              <a:gd name="connsiteY1" fmla="*/ 505278 h 1310116"/>
              <a:gd name="connsiteX2" fmla="*/ 8809 w 1442193"/>
              <a:gd name="connsiteY2" fmla="*/ 789484 h 1310116"/>
              <a:gd name="connsiteX3" fmla="*/ 194160 w 1442193"/>
              <a:gd name="connsiteY3" fmla="*/ 1036619 h 1310116"/>
              <a:gd name="connsiteX4" fmla="*/ 409888 w 1442193"/>
              <a:gd name="connsiteY4" fmla="*/ 1241020 h 1310116"/>
              <a:gd name="connsiteX5" fmla="*/ 601933 w 1442193"/>
              <a:gd name="connsiteY5" fmla="*/ 1308467 h 1310116"/>
              <a:gd name="connsiteX6" fmla="*/ 923209 w 1442193"/>
              <a:gd name="connsiteY6" fmla="*/ 1184900 h 1310116"/>
              <a:gd name="connsiteX7" fmla="*/ 1306268 w 1442193"/>
              <a:gd name="connsiteY7" fmla="*/ 863624 h 1310116"/>
              <a:gd name="connsiteX8" fmla="*/ 1442193 w 1442193"/>
              <a:gd name="connsiteY8" fmla="*/ 616489 h 1310116"/>
              <a:gd name="connsiteX9" fmla="*/ 1306268 w 1442193"/>
              <a:gd name="connsiteY9" fmla="*/ 332284 h 1310116"/>
              <a:gd name="connsiteX10" fmla="*/ 997349 w 1442193"/>
              <a:gd name="connsiteY10" fmla="*/ 72792 h 1310116"/>
              <a:gd name="connsiteX11" fmla="*/ 688430 w 1442193"/>
              <a:gd name="connsiteY11" fmla="*/ 11008 h 1310116"/>
              <a:gd name="connsiteX12" fmla="*/ 298356 w 1442193"/>
              <a:gd name="connsiteY12" fmla="*/ 259493 h 1310116"/>
              <a:gd name="connsiteX0" fmla="*/ 305371 w 1442193"/>
              <a:gd name="connsiteY0" fmla="*/ 258476 h 1310449"/>
              <a:gd name="connsiteX1" fmla="*/ 58236 w 1442193"/>
              <a:gd name="connsiteY1" fmla="*/ 505611 h 1310449"/>
              <a:gd name="connsiteX2" fmla="*/ 8809 w 1442193"/>
              <a:gd name="connsiteY2" fmla="*/ 789817 h 1310449"/>
              <a:gd name="connsiteX3" fmla="*/ 194160 w 1442193"/>
              <a:gd name="connsiteY3" fmla="*/ 1036952 h 1310449"/>
              <a:gd name="connsiteX4" fmla="*/ 409888 w 1442193"/>
              <a:gd name="connsiteY4" fmla="*/ 1241353 h 1310449"/>
              <a:gd name="connsiteX5" fmla="*/ 601933 w 1442193"/>
              <a:gd name="connsiteY5" fmla="*/ 1308800 h 1310449"/>
              <a:gd name="connsiteX6" fmla="*/ 923209 w 1442193"/>
              <a:gd name="connsiteY6" fmla="*/ 1185233 h 1310449"/>
              <a:gd name="connsiteX7" fmla="*/ 1306268 w 1442193"/>
              <a:gd name="connsiteY7" fmla="*/ 863957 h 1310449"/>
              <a:gd name="connsiteX8" fmla="*/ 1442193 w 1442193"/>
              <a:gd name="connsiteY8" fmla="*/ 616822 h 1310449"/>
              <a:gd name="connsiteX9" fmla="*/ 1306268 w 1442193"/>
              <a:gd name="connsiteY9" fmla="*/ 332617 h 1310449"/>
              <a:gd name="connsiteX10" fmla="*/ 997349 w 1442193"/>
              <a:gd name="connsiteY10" fmla="*/ 73125 h 1310449"/>
              <a:gd name="connsiteX11" fmla="*/ 688430 w 1442193"/>
              <a:gd name="connsiteY11" fmla="*/ 11341 h 1310449"/>
              <a:gd name="connsiteX12" fmla="*/ 295975 w 1442193"/>
              <a:gd name="connsiteY12" fmla="*/ 264589 h 1310449"/>
              <a:gd name="connsiteX0" fmla="*/ 305371 w 1442193"/>
              <a:gd name="connsiteY0" fmla="*/ 258476 h 1332161"/>
              <a:gd name="connsiteX1" fmla="*/ 58236 w 1442193"/>
              <a:gd name="connsiteY1" fmla="*/ 505611 h 1332161"/>
              <a:gd name="connsiteX2" fmla="*/ 8809 w 1442193"/>
              <a:gd name="connsiteY2" fmla="*/ 789817 h 1332161"/>
              <a:gd name="connsiteX3" fmla="*/ 194160 w 1442193"/>
              <a:gd name="connsiteY3" fmla="*/ 1036952 h 1332161"/>
              <a:gd name="connsiteX4" fmla="*/ 409888 w 1442193"/>
              <a:gd name="connsiteY4" fmla="*/ 1241353 h 1332161"/>
              <a:gd name="connsiteX5" fmla="*/ 627333 w 1442193"/>
              <a:gd name="connsiteY5" fmla="*/ 1331025 h 1332161"/>
              <a:gd name="connsiteX6" fmla="*/ 923209 w 1442193"/>
              <a:gd name="connsiteY6" fmla="*/ 1185233 h 1332161"/>
              <a:gd name="connsiteX7" fmla="*/ 1306268 w 1442193"/>
              <a:gd name="connsiteY7" fmla="*/ 863957 h 1332161"/>
              <a:gd name="connsiteX8" fmla="*/ 1442193 w 1442193"/>
              <a:gd name="connsiteY8" fmla="*/ 616822 h 1332161"/>
              <a:gd name="connsiteX9" fmla="*/ 1306268 w 1442193"/>
              <a:gd name="connsiteY9" fmla="*/ 332617 h 1332161"/>
              <a:gd name="connsiteX10" fmla="*/ 997349 w 1442193"/>
              <a:gd name="connsiteY10" fmla="*/ 73125 h 1332161"/>
              <a:gd name="connsiteX11" fmla="*/ 688430 w 1442193"/>
              <a:gd name="connsiteY11" fmla="*/ 11341 h 1332161"/>
              <a:gd name="connsiteX12" fmla="*/ 295975 w 1442193"/>
              <a:gd name="connsiteY12" fmla="*/ 264589 h 1332161"/>
              <a:gd name="connsiteX0" fmla="*/ 305371 w 1435843"/>
              <a:gd name="connsiteY0" fmla="*/ 258476 h 1332161"/>
              <a:gd name="connsiteX1" fmla="*/ 58236 w 1435843"/>
              <a:gd name="connsiteY1" fmla="*/ 505611 h 1332161"/>
              <a:gd name="connsiteX2" fmla="*/ 8809 w 1435843"/>
              <a:gd name="connsiteY2" fmla="*/ 789817 h 1332161"/>
              <a:gd name="connsiteX3" fmla="*/ 194160 w 1435843"/>
              <a:gd name="connsiteY3" fmla="*/ 1036952 h 1332161"/>
              <a:gd name="connsiteX4" fmla="*/ 409888 w 1435843"/>
              <a:gd name="connsiteY4" fmla="*/ 1241353 h 1332161"/>
              <a:gd name="connsiteX5" fmla="*/ 627333 w 1435843"/>
              <a:gd name="connsiteY5" fmla="*/ 1331025 h 1332161"/>
              <a:gd name="connsiteX6" fmla="*/ 923209 w 1435843"/>
              <a:gd name="connsiteY6" fmla="*/ 1185233 h 1332161"/>
              <a:gd name="connsiteX7" fmla="*/ 1306268 w 1435843"/>
              <a:gd name="connsiteY7" fmla="*/ 863957 h 1332161"/>
              <a:gd name="connsiteX8" fmla="*/ 1435843 w 1435843"/>
              <a:gd name="connsiteY8" fmla="*/ 623172 h 1332161"/>
              <a:gd name="connsiteX9" fmla="*/ 1306268 w 1435843"/>
              <a:gd name="connsiteY9" fmla="*/ 332617 h 1332161"/>
              <a:gd name="connsiteX10" fmla="*/ 997349 w 1435843"/>
              <a:gd name="connsiteY10" fmla="*/ 73125 h 1332161"/>
              <a:gd name="connsiteX11" fmla="*/ 688430 w 1435843"/>
              <a:gd name="connsiteY11" fmla="*/ 11341 h 1332161"/>
              <a:gd name="connsiteX12" fmla="*/ 295975 w 1435843"/>
              <a:gd name="connsiteY12" fmla="*/ 264589 h 1332161"/>
              <a:gd name="connsiteX0" fmla="*/ 305371 w 1435847"/>
              <a:gd name="connsiteY0" fmla="*/ 258622 h 1332307"/>
              <a:gd name="connsiteX1" fmla="*/ 58236 w 1435847"/>
              <a:gd name="connsiteY1" fmla="*/ 505757 h 1332307"/>
              <a:gd name="connsiteX2" fmla="*/ 8809 w 1435847"/>
              <a:gd name="connsiteY2" fmla="*/ 789963 h 1332307"/>
              <a:gd name="connsiteX3" fmla="*/ 194160 w 1435847"/>
              <a:gd name="connsiteY3" fmla="*/ 1037098 h 1332307"/>
              <a:gd name="connsiteX4" fmla="*/ 409888 w 1435847"/>
              <a:gd name="connsiteY4" fmla="*/ 1241499 h 1332307"/>
              <a:gd name="connsiteX5" fmla="*/ 627333 w 1435847"/>
              <a:gd name="connsiteY5" fmla="*/ 1331171 h 1332307"/>
              <a:gd name="connsiteX6" fmla="*/ 923209 w 1435847"/>
              <a:gd name="connsiteY6" fmla="*/ 1185379 h 1332307"/>
              <a:gd name="connsiteX7" fmla="*/ 1306268 w 1435847"/>
              <a:gd name="connsiteY7" fmla="*/ 864103 h 1332307"/>
              <a:gd name="connsiteX8" fmla="*/ 1435843 w 1435847"/>
              <a:gd name="connsiteY8" fmla="*/ 623318 h 1332307"/>
              <a:gd name="connsiteX9" fmla="*/ 1303093 w 1435847"/>
              <a:gd name="connsiteY9" fmla="*/ 339113 h 1332307"/>
              <a:gd name="connsiteX10" fmla="*/ 997349 w 1435847"/>
              <a:gd name="connsiteY10" fmla="*/ 73271 h 1332307"/>
              <a:gd name="connsiteX11" fmla="*/ 688430 w 1435847"/>
              <a:gd name="connsiteY11" fmla="*/ 11487 h 1332307"/>
              <a:gd name="connsiteX12" fmla="*/ 295975 w 1435847"/>
              <a:gd name="connsiteY12" fmla="*/ 264735 h 1332307"/>
              <a:gd name="connsiteX0" fmla="*/ 305371 w 1435847"/>
              <a:gd name="connsiteY0" fmla="*/ 257598 h 1331283"/>
              <a:gd name="connsiteX1" fmla="*/ 58236 w 1435847"/>
              <a:gd name="connsiteY1" fmla="*/ 504733 h 1331283"/>
              <a:gd name="connsiteX2" fmla="*/ 8809 w 1435847"/>
              <a:gd name="connsiteY2" fmla="*/ 788939 h 1331283"/>
              <a:gd name="connsiteX3" fmla="*/ 194160 w 1435847"/>
              <a:gd name="connsiteY3" fmla="*/ 1036074 h 1331283"/>
              <a:gd name="connsiteX4" fmla="*/ 409888 w 1435847"/>
              <a:gd name="connsiteY4" fmla="*/ 1240475 h 1331283"/>
              <a:gd name="connsiteX5" fmla="*/ 627333 w 1435847"/>
              <a:gd name="connsiteY5" fmla="*/ 1330147 h 1331283"/>
              <a:gd name="connsiteX6" fmla="*/ 923209 w 1435847"/>
              <a:gd name="connsiteY6" fmla="*/ 1184355 h 1331283"/>
              <a:gd name="connsiteX7" fmla="*/ 1306268 w 1435847"/>
              <a:gd name="connsiteY7" fmla="*/ 863079 h 1331283"/>
              <a:gd name="connsiteX8" fmla="*/ 1435843 w 1435847"/>
              <a:gd name="connsiteY8" fmla="*/ 622294 h 1331283"/>
              <a:gd name="connsiteX9" fmla="*/ 1303093 w 1435847"/>
              <a:gd name="connsiteY9" fmla="*/ 338089 h 1331283"/>
              <a:gd name="connsiteX10" fmla="*/ 1016399 w 1435847"/>
              <a:gd name="connsiteY10" fmla="*/ 77010 h 1331283"/>
              <a:gd name="connsiteX11" fmla="*/ 688430 w 1435847"/>
              <a:gd name="connsiteY11" fmla="*/ 10463 h 1331283"/>
              <a:gd name="connsiteX12" fmla="*/ 295975 w 1435847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16399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  <a:gd name="connsiteX0" fmla="*/ 305371 w 1436043"/>
              <a:gd name="connsiteY0" fmla="*/ 257598 h 1331283"/>
              <a:gd name="connsiteX1" fmla="*/ 58236 w 1436043"/>
              <a:gd name="connsiteY1" fmla="*/ 504733 h 1331283"/>
              <a:gd name="connsiteX2" fmla="*/ 8809 w 1436043"/>
              <a:gd name="connsiteY2" fmla="*/ 788939 h 1331283"/>
              <a:gd name="connsiteX3" fmla="*/ 194160 w 1436043"/>
              <a:gd name="connsiteY3" fmla="*/ 1036074 h 1331283"/>
              <a:gd name="connsiteX4" fmla="*/ 409888 w 1436043"/>
              <a:gd name="connsiteY4" fmla="*/ 1240475 h 1331283"/>
              <a:gd name="connsiteX5" fmla="*/ 627333 w 1436043"/>
              <a:gd name="connsiteY5" fmla="*/ 1330147 h 1331283"/>
              <a:gd name="connsiteX6" fmla="*/ 923209 w 1436043"/>
              <a:gd name="connsiteY6" fmla="*/ 1184355 h 1331283"/>
              <a:gd name="connsiteX7" fmla="*/ 1306268 w 1436043"/>
              <a:gd name="connsiteY7" fmla="*/ 863079 h 1331283"/>
              <a:gd name="connsiteX8" fmla="*/ 1435843 w 1436043"/>
              <a:gd name="connsiteY8" fmla="*/ 622294 h 1331283"/>
              <a:gd name="connsiteX9" fmla="*/ 1284043 w 1436043"/>
              <a:gd name="connsiteY9" fmla="*/ 338089 h 1331283"/>
              <a:gd name="connsiteX10" fmla="*/ 1006874 w 1436043"/>
              <a:gd name="connsiteY10" fmla="*/ 77010 h 1331283"/>
              <a:gd name="connsiteX11" fmla="*/ 688430 w 1436043"/>
              <a:gd name="connsiteY11" fmla="*/ 10463 h 1331283"/>
              <a:gd name="connsiteX12" fmla="*/ 295975 w 1436043"/>
              <a:gd name="connsiteY12" fmla="*/ 263711 h 133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36043" h="1331283">
                <a:moveTo>
                  <a:pt x="305371" y="257598"/>
                </a:moveTo>
                <a:cubicBezTo>
                  <a:pt x="206517" y="336887"/>
                  <a:pt x="107663" y="416176"/>
                  <a:pt x="58236" y="504733"/>
                </a:cubicBezTo>
                <a:cubicBezTo>
                  <a:pt x="8809" y="593290"/>
                  <a:pt x="-13845" y="700382"/>
                  <a:pt x="8809" y="788939"/>
                </a:cubicBezTo>
                <a:cubicBezTo>
                  <a:pt x="31463" y="877496"/>
                  <a:pt x="127313" y="960818"/>
                  <a:pt x="194160" y="1036074"/>
                </a:cubicBezTo>
                <a:cubicBezTo>
                  <a:pt x="261007" y="1111330"/>
                  <a:pt x="337692" y="1191463"/>
                  <a:pt x="409888" y="1240475"/>
                </a:cubicBezTo>
                <a:cubicBezTo>
                  <a:pt x="482084" y="1289487"/>
                  <a:pt x="541780" y="1339500"/>
                  <a:pt x="627333" y="1330147"/>
                </a:cubicBezTo>
                <a:cubicBezTo>
                  <a:pt x="712886" y="1320794"/>
                  <a:pt x="810053" y="1262200"/>
                  <a:pt x="923209" y="1184355"/>
                </a:cubicBezTo>
                <a:cubicBezTo>
                  <a:pt x="1036365" y="1106510"/>
                  <a:pt x="1220829" y="956756"/>
                  <a:pt x="1306268" y="863079"/>
                </a:cubicBezTo>
                <a:cubicBezTo>
                  <a:pt x="1391707" y="769402"/>
                  <a:pt x="1439547" y="709792"/>
                  <a:pt x="1435843" y="622294"/>
                </a:cubicBezTo>
                <a:cubicBezTo>
                  <a:pt x="1432139" y="534796"/>
                  <a:pt x="1379351" y="452783"/>
                  <a:pt x="1284043" y="338089"/>
                </a:cubicBezTo>
                <a:cubicBezTo>
                  <a:pt x="1188735" y="223395"/>
                  <a:pt x="1106143" y="131614"/>
                  <a:pt x="1006874" y="77010"/>
                </a:cubicBezTo>
                <a:cubicBezTo>
                  <a:pt x="907605" y="22406"/>
                  <a:pt x="806913" y="-20654"/>
                  <a:pt x="688430" y="10463"/>
                </a:cubicBezTo>
                <a:cubicBezTo>
                  <a:pt x="569947" y="41580"/>
                  <a:pt x="455583" y="140143"/>
                  <a:pt x="295975" y="263711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prstDash val="dash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square" anchor="ctr"/>
          <a:lstStyle/>
          <a:p>
            <a:pPr marL="0" marR="0" lvl="0" indent="0" algn="ctr" defTabSz="8227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81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Flexo Medium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2104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con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6" descr="modulos2-0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6517" y="1"/>
            <a:ext cx="3655483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arcador de contenido 3"/>
          <p:cNvSpPr>
            <a:spLocks noGrp="1"/>
          </p:cNvSpPr>
          <p:nvPr>
            <p:ph sz="half" idx="14"/>
          </p:nvPr>
        </p:nvSpPr>
        <p:spPr>
          <a:xfrm>
            <a:off x="609600" y="442227"/>
            <a:ext cx="11096192" cy="6528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FF6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Marcador de contenido 3"/>
          <p:cNvSpPr>
            <a:spLocks noGrp="1"/>
          </p:cNvSpPr>
          <p:nvPr>
            <p:ph sz="half" idx="29"/>
          </p:nvPr>
        </p:nvSpPr>
        <p:spPr>
          <a:xfrm>
            <a:off x="609600" y="1252028"/>
            <a:ext cx="11096192" cy="494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 baseline="0">
                <a:solidFill>
                  <a:srgbClr val="0D50A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0" name="Marcador de contenido 3"/>
          <p:cNvSpPr>
            <a:spLocks noGrp="1"/>
          </p:cNvSpPr>
          <p:nvPr>
            <p:ph sz="half" idx="28"/>
          </p:nvPr>
        </p:nvSpPr>
        <p:spPr>
          <a:xfrm>
            <a:off x="414584" y="199306"/>
            <a:ext cx="2709077" cy="46765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100" b="0" i="0">
                <a:solidFill>
                  <a:srgbClr val="0D50A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número de diapositiva 8"/>
          <p:cNvSpPr>
            <a:spLocks noGrp="1"/>
          </p:cNvSpPr>
          <p:nvPr>
            <p:ph type="sldNum" sz="quarter" idx="30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fld id="{51F19DAF-0F6F-4DE3-BE0F-08138BD6539E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5743546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79" y="101900"/>
            <a:ext cx="11860664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38F8588F-BF0B-44A2-AD31-2321078C3696}"/>
              </a:ext>
            </a:extLst>
          </p:cNvPr>
          <p:cNvSpPr/>
          <p:nvPr userDrawn="1"/>
        </p:nvSpPr>
        <p:spPr>
          <a:xfrm>
            <a:off x="9645" y="664146"/>
            <a:ext cx="1309224" cy="6015970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/>
          </a:p>
        </p:txBody>
      </p:sp>
      <p:pic>
        <p:nvPicPr>
          <p:cNvPr id="7" name="Picture 2" descr="Resultado de imagen para presupuesto">
            <a:extLst>
              <a:ext uri="{FF2B5EF4-FFF2-40B4-BE49-F238E27FC236}">
                <a16:creationId xmlns:a16="http://schemas.microsoft.com/office/drawing/2014/main" id="{26490115-8090-49BE-AE2B-C195D89FF0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72" y="970470"/>
            <a:ext cx="1046934" cy="647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CD6ABECE-C0CA-4E43-B53E-1FB9E8B9E86F}"/>
              </a:ext>
            </a:extLst>
          </p:cNvPr>
          <p:cNvSpPr txBox="1"/>
          <p:nvPr userDrawn="1"/>
        </p:nvSpPr>
        <p:spPr>
          <a:xfrm>
            <a:off x="67514" y="1707710"/>
            <a:ext cx="12094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Detalle</a:t>
            </a:r>
          </a:p>
          <a:p>
            <a:pPr marL="0" marR="0" lvl="0" indent="0" algn="ctr" defTabSz="8227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cs typeface="Arial" panose="020B0604020202020204" pitchFamily="34" charset="0"/>
              </a:rPr>
              <a:t>Presupuestal</a:t>
            </a:r>
          </a:p>
        </p:txBody>
      </p:sp>
    </p:spTree>
    <p:extLst>
      <p:ext uri="{BB962C8B-B14F-4D97-AF65-F5344CB8AC3E}">
        <p14:creationId xmlns:p14="http://schemas.microsoft.com/office/powerpoint/2010/main" val="962656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3940" y="2"/>
            <a:ext cx="7838062" cy="68580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AA7070E-4118-4494-BAD2-8DBA04DB9A84}"/>
              </a:ext>
            </a:extLst>
          </p:cNvPr>
          <p:cNvSpPr>
            <a:spLocks/>
          </p:cNvSpPr>
          <p:nvPr/>
        </p:nvSpPr>
        <p:spPr>
          <a:xfrm>
            <a:off x="1" y="2"/>
            <a:ext cx="6840595" cy="6858000"/>
          </a:xfrm>
          <a:custGeom>
            <a:avLst/>
            <a:gdLst>
              <a:gd name="connsiteX0" fmla="*/ 0 w 6704318"/>
              <a:gd name="connsiteY0" fmla="*/ 0 h 6721475"/>
              <a:gd name="connsiteX1" fmla="*/ 641619 w 6704318"/>
              <a:gd name="connsiteY1" fmla="*/ 0 h 6721475"/>
              <a:gd name="connsiteX2" fmla="*/ 645291 w 6704318"/>
              <a:gd name="connsiteY2" fmla="*/ 0 h 6721475"/>
              <a:gd name="connsiteX3" fmla="*/ 1460988 w 6704318"/>
              <a:gd name="connsiteY3" fmla="*/ 0 h 6721475"/>
              <a:gd name="connsiteX4" fmla="*/ 2439265 w 6704318"/>
              <a:gd name="connsiteY4" fmla="*/ 0 h 6721475"/>
              <a:gd name="connsiteX5" fmla="*/ 2442937 w 6704318"/>
              <a:gd name="connsiteY5" fmla="*/ 0 h 6721475"/>
              <a:gd name="connsiteX6" fmla="*/ 2530192 w 6704318"/>
              <a:gd name="connsiteY6" fmla="*/ 0 h 6721475"/>
              <a:gd name="connsiteX7" fmla="*/ 2533864 w 6704318"/>
              <a:gd name="connsiteY7" fmla="*/ 0 h 6721475"/>
              <a:gd name="connsiteX8" fmla="*/ 4327838 w 6704318"/>
              <a:gd name="connsiteY8" fmla="*/ 0 h 6721475"/>
              <a:gd name="connsiteX9" fmla="*/ 4331510 w 6704318"/>
              <a:gd name="connsiteY9" fmla="*/ 0 h 6721475"/>
              <a:gd name="connsiteX10" fmla="*/ 4331510 w 6704318"/>
              <a:gd name="connsiteY10" fmla="*/ 10386 h 6721475"/>
              <a:gd name="connsiteX11" fmla="*/ 6704318 w 6704318"/>
              <a:gd name="connsiteY11" fmla="*/ 6721475 h 6721475"/>
              <a:gd name="connsiteX12" fmla="*/ 4906672 w 6704318"/>
              <a:gd name="connsiteY12" fmla="*/ 6721475 h 6721475"/>
              <a:gd name="connsiteX13" fmla="*/ 4815745 w 6704318"/>
              <a:gd name="connsiteY13" fmla="*/ 6721475 h 6721475"/>
              <a:gd name="connsiteX14" fmla="*/ 3018099 w 6704318"/>
              <a:gd name="connsiteY14" fmla="*/ 6721475 h 6721475"/>
              <a:gd name="connsiteX15" fmla="*/ 1460988 w 6704318"/>
              <a:gd name="connsiteY15" fmla="*/ 6721475 h 6721475"/>
              <a:gd name="connsiteX16" fmla="*/ 0 w 6704318"/>
              <a:gd name="connsiteY16" fmla="*/ 6721475 h 6721475"/>
              <a:gd name="connsiteX17" fmla="*/ 0 w 6704318"/>
              <a:gd name="connsiteY17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04318" h="6721475">
                <a:moveTo>
                  <a:pt x="0" y="0"/>
                </a:moveTo>
                <a:lnTo>
                  <a:pt x="641619" y="0"/>
                </a:lnTo>
                <a:lnTo>
                  <a:pt x="645291" y="0"/>
                </a:lnTo>
                <a:lnTo>
                  <a:pt x="1460988" y="0"/>
                </a:lnTo>
                <a:lnTo>
                  <a:pt x="2439265" y="0"/>
                </a:lnTo>
                <a:lnTo>
                  <a:pt x="2442937" y="0"/>
                </a:lnTo>
                <a:lnTo>
                  <a:pt x="2530192" y="0"/>
                </a:lnTo>
                <a:lnTo>
                  <a:pt x="2533864" y="0"/>
                </a:lnTo>
                <a:lnTo>
                  <a:pt x="4327838" y="0"/>
                </a:lnTo>
                <a:lnTo>
                  <a:pt x="4331510" y="0"/>
                </a:lnTo>
                <a:lnTo>
                  <a:pt x="4331510" y="10386"/>
                </a:lnTo>
                <a:lnTo>
                  <a:pt x="6704318" y="6721475"/>
                </a:lnTo>
                <a:lnTo>
                  <a:pt x="4906672" y="6721475"/>
                </a:lnTo>
                <a:lnTo>
                  <a:pt x="4815745" y="6721475"/>
                </a:lnTo>
                <a:lnTo>
                  <a:pt x="3018099" y="6721475"/>
                </a:lnTo>
                <a:lnTo>
                  <a:pt x="1460988" y="6721475"/>
                </a:lnTo>
                <a:lnTo>
                  <a:pt x="0" y="672147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9B9250-2837-42B9-9997-131808FF9503}"/>
              </a:ext>
            </a:extLst>
          </p:cNvPr>
          <p:cNvGrpSpPr/>
          <p:nvPr/>
        </p:nvGrpSpPr>
        <p:grpSpPr>
          <a:xfrm>
            <a:off x="832781" y="2903660"/>
            <a:ext cx="3931927" cy="1050685"/>
            <a:chOff x="4797041" y="952089"/>
            <a:chExt cx="2281238" cy="609599"/>
          </a:xfrm>
        </p:grpSpPr>
        <p:sp>
          <p:nvSpPr>
            <p:cNvPr id="26" name="Freeform 538">
              <a:extLst>
                <a:ext uri="{FF2B5EF4-FFF2-40B4-BE49-F238E27FC236}">
                  <a16:creationId xmlns:a16="http://schemas.microsoft.com/office/drawing/2014/main" id="{B867A878-913F-47AE-A151-F55FDEC1EA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27" name="Freeform 539">
              <a:extLst>
                <a:ext uri="{FF2B5EF4-FFF2-40B4-BE49-F238E27FC236}">
                  <a16:creationId xmlns:a16="http://schemas.microsoft.com/office/drawing/2014/main" id="{3DC3CB76-26C6-4631-8C62-ABD7B3B492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28" name="Freeform 540">
              <a:extLst>
                <a:ext uri="{FF2B5EF4-FFF2-40B4-BE49-F238E27FC236}">
                  <a16:creationId xmlns:a16="http://schemas.microsoft.com/office/drawing/2014/main" id="{5675BF14-7787-4D15-A2C4-5109E68B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29" name="Freeform 541">
              <a:extLst>
                <a:ext uri="{FF2B5EF4-FFF2-40B4-BE49-F238E27FC236}">
                  <a16:creationId xmlns:a16="http://schemas.microsoft.com/office/drawing/2014/main" id="{549D4A3B-82C1-4AB5-ABB1-FF74D0CBC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30" name="Freeform 542">
              <a:extLst>
                <a:ext uri="{FF2B5EF4-FFF2-40B4-BE49-F238E27FC236}">
                  <a16:creationId xmlns:a16="http://schemas.microsoft.com/office/drawing/2014/main" id="{F4D1B063-2152-4213-ADC9-D6DC3545B7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31" name="Freeform 543">
              <a:extLst>
                <a:ext uri="{FF2B5EF4-FFF2-40B4-BE49-F238E27FC236}">
                  <a16:creationId xmlns:a16="http://schemas.microsoft.com/office/drawing/2014/main" id="{4C30F9F3-CAD7-45C3-83CF-A1E156B006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32" name="Freeform 544">
              <a:extLst>
                <a:ext uri="{FF2B5EF4-FFF2-40B4-BE49-F238E27FC236}">
                  <a16:creationId xmlns:a16="http://schemas.microsoft.com/office/drawing/2014/main" id="{CAFE6CEB-1DB4-4EAF-9377-14E5BA42C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</p:spTree>
    <p:extLst>
      <p:ext uri="{BB962C8B-B14F-4D97-AF65-F5344CB8AC3E}">
        <p14:creationId xmlns:p14="http://schemas.microsoft.com/office/powerpoint/2010/main" val="594681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4851" y="2"/>
            <a:ext cx="10287152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2F09DA5-2894-4EC1-9C90-665D9D6A5B9E}"/>
              </a:ext>
            </a:extLst>
          </p:cNvPr>
          <p:cNvSpPr>
            <a:spLocks/>
          </p:cNvSpPr>
          <p:nvPr/>
        </p:nvSpPr>
        <p:spPr>
          <a:xfrm>
            <a:off x="2" y="-1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2000">
                <a:schemeClr val="accent5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1A62CCF-F230-4083-B80D-8EFF998D4248}"/>
              </a:ext>
            </a:extLst>
          </p:cNvPr>
          <p:cNvSpPr>
            <a:spLocks/>
          </p:cNvSpPr>
          <p:nvPr/>
        </p:nvSpPr>
        <p:spPr>
          <a:xfrm>
            <a:off x="2" y="2"/>
            <a:ext cx="9111058" cy="6858000"/>
          </a:xfrm>
          <a:custGeom>
            <a:avLst/>
            <a:gdLst>
              <a:gd name="connsiteX0" fmla="*/ 0 w 8929549"/>
              <a:gd name="connsiteY0" fmla="*/ 0 h 6721475"/>
              <a:gd name="connsiteX1" fmla="*/ 1797646 w 8929549"/>
              <a:gd name="connsiteY1" fmla="*/ 0 h 6721475"/>
              <a:gd name="connsiteX2" fmla="*/ 1888573 w 8929549"/>
              <a:gd name="connsiteY2" fmla="*/ 0 h 6721475"/>
              <a:gd name="connsiteX3" fmla="*/ 2866850 w 8929549"/>
              <a:gd name="connsiteY3" fmla="*/ 0 h 6721475"/>
              <a:gd name="connsiteX4" fmla="*/ 2870522 w 8929549"/>
              <a:gd name="connsiteY4" fmla="*/ 0 h 6721475"/>
              <a:gd name="connsiteX5" fmla="*/ 3686219 w 8929549"/>
              <a:gd name="connsiteY5" fmla="*/ 0 h 6721475"/>
              <a:gd name="connsiteX6" fmla="*/ 4664496 w 8929549"/>
              <a:gd name="connsiteY6" fmla="*/ 0 h 6721475"/>
              <a:gd name="connsiteX7" fmla="*/ 4668168 w 8929549"/>
              <a:gd name="connsiteY7" fmla="*/ 0 h 6721475"/>
              <a:gd name="connsiteX8" fmla="*/ 4755423 w 8929549"/>
              <a:gd name="connsiteY8" fmla="*/ 0 h 6721475"/>
              <a:gd name="connsiteX9" fmla="*/ 4759095 w 8929549"/>
              <a:gd name="connsiteY9" fmla="*/ 0 h 6721475"/>
              <a:gd name="connsiteX10" fmla="*/ 6553069 w 8929549"/>
              <a:gd name="connsiteY10" fmla="*/ 0 h 6721475"/>
              <a:gd name="connsiteX11" fmla="*/ 6556741 w 8929549"/>
              <a:gd name="connsiteY11" fmla="*/ 0 h 6721475"/>
              <a:gd name="connsiteX12" fmla="*/ 6556741 w 8929549"/>
              <a:gd name="connsiteY12" fmla="*/ 10386 h 6721475"/>
              <a:gd name="connsiteX13" fmla="*/ 8929549 w 8929549"/>
              <a:gd name="connsiteY13" fmla="*/ 6721475 h 6721475"/>
              <a:gd name="connsiteX14" fmla="*/ 7131903 w 8929549"/>
              <a:gd name="connsiteY14" fmla="*/ 6721475 h 6721475"/>
              <a:gd name="connsiteX15" fmla="*/ 7040976 w 8929549"/>
              <a:gd name="connsiteY15" fmla="*/ 6721475 h 6721475"/>
              <a:gd name="connsiteX16" fmla="*/ 5243330 w 8929549"/>
              <a:gd name="connsiteY16" fmla="*/ 6721475 h 6721475"/>
              <a:gd name="connsiteX17" fmla="*/ 3686219 w 8929549"/>
              <a:gd name="connsiteY17" fmla="*/ 6721475 h 6721475"/>
              <a:gd name="connsiteX18" fmla="*/ 1888573 w 8929549"/>
              <a:gd name="connsiteY18" fmla="*/ 6721475 h 6721475"/>
              <a:gd name="connsiteX19" fmla="*/ 1797646 w 8929549"/>
              <a:gd name="connsiteY19" fmla="*/ 6721475 h 6721475"/>
              <a:gd name="connsiteX20" fmla="*/ 0 w 8929549"/>
              <a:gd name="connsiteY2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929549" h="6721475">
                <a:moveTo>
                  <a:pt x="0" y="0"/>
                </a:moveTo>
                <a:lnTo>
                  <a:pt x="1797646" y="0"/>
                </a:ln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3686219" y="0"/>
                </a:lnTo>
                <a:lnTo>
                  <a:pt x="4664496" y="0"/>
                </a:lnTo>
                <a:lnTo>
                  <a:pt x="4668168" y="0"/>
                </a:lnTo>
                <a:lnTo>
                  <a:pt x="4755423" y="0"/>
                </a:lnTo>
                <a:lnTo>
                  <a:pt x="4759095" y="0"/>
                </a:lnTo>
                <a:lnTo>
                  <a:pt x="6553069" y="0"/>
                </a:lnTo>
                <a:lnTo>
                  <a:pt x="6556741" y="0"/>
                </a:lnTo>
                <a:lnTo>
                  <a:pt x="6556741" y="10386"/>
                </a:lnTo>
                <a:lnTo>
                  <a:pt x="8929549" y="6721475"/>
                </a:lnTo>
                <a:lnTo>
                  <a:pt x="7131903" y="6721475"/>
                </a:lnTo>
                <a:lnTo>
                  <a:pt x="7040976" y="6721475"/>
                </a:lnTo>
                <a:lnTo>
                  <a:pt x="5243330" y="6721475"/>
                </a:lnTo>
                <a:lnTo>
                  <a:pt x="3686219" y="6721475"/>
                </a:lnTo>
                <a:lnTo>
                  <a:pt x="1888573" y="6721475"/>
                </a:lnTo>
                <a:lnTo>
                  <a:pt x="1797646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870" y="234867"/>
            <a:ext cx="11537600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5B3C1C9-164C-45D0-AE40-099216F858A4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32351"/>
            <a:ext cx="118622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765" smtClean="0">
                <a:solidFill>
                  <a:schemeClr val="bg1"/>
                </a:solidFill>
              </a:rPr>
              <a:pPr lvl="0"/>
              <a:t>‹Nº›</a:t>
            </a:fld>
            <a:endParaRPr lang="en-US" sz="765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A091C01-859B-4D5E-A46D-7F6F795C667F}"/>
              </a:ext>
            </a:extLst>
          </p:cNvPr>
          <p:cNvGrpSpPr/>
          <p:nvPr/>
        </p:nvGrpSpPr>
        <p:grpSpPr>
          <a:xfrm>
            <a:off x="10829031" y="6608571"/>
            <a:ext cx="618531" cy="165283"/>
            <a:chOff x="4797041" y="952089"/>
            <a:chExt cx="2281238" cy="609599"/>
          </a:xfrm>
          <a:solidFill>
            <a:schemeClr val="bg1"/>
          </a:solidFill>
        </p:grpSpPr>
        <p:sp>
          <p:nvSpPr>
            <p:cNvPr id="14" name="Freeform 538">
              <a:extLst>
                <a:ext uri="{FF2B5EF4-FFF2-40B4-BE49-F238E27FC236}">
                  <a16:creationId xmlns:a16="http://schemas.microsoft.com/office/drawing/2014/main" id="{1EEA9E48-40F1-4821-856D-CFC901698D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5" name="Freeform 539">
              <a:extLst>
                <a:ext uri="{FF2B5EF4-FFF2-40B4-BE49-F238E27FC236}">
                  <a16:creationId xmlns:a16="http://schemas.microsoft.com/office/drawing/2014/main" id="{1BC14002-6AC7-43A0-B8FC-6FDAA1EF5D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6" name="Freeform 540">
              <a:extLst>
                <a:ext uri="{FF2B5EF4-FFF2-40B4-BE49-F238E27FC236}">
                  <a16:creationId xmlns:a16="http://schemas.microsoft.com/office/drawing/2014/main" id="{CE175A35-FD80-4EAC-B7C8-A2B57FC263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7" name="Freeform 541">
              <a:extLst>
                <a:ext uri="{FF2B5EF4-FFF2-40B4-BE49-F238E27FC236}">
                  <a16:creationId xmlns:a16="http://schemas.microsoft.com/office/drawing/2014/main" id="{6AD157DA-7E3C-4887-BCF8-2390422DB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8" name="Freeform 542">
              <a:extLst>
                <a:ext uri="{FF2B5EF4-FFF2-40B4-BE49-F238E27FC236}">
                  <a16:creationId xmlns:a16="http://schemas.microsoft.com/office/drawing/2014/main" id="{0AC7FD69-DF48-4BE9-830A-FAECD1F40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19" name="Freeform 543">
              <a:extLst>
                <a:ext uri="{FF2B5EF4-FFF2-40B4-BE49-F238E27FC236}">
                  <a16:creationId xmlns:a16="http://schemas.microsoft.com/office/drawing/2014/main" id="{C3320177-C075-41D2-8D4D-084DB9CC0E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20" name="Freeform 544">
              <a:extLst>
                <a:ext uri="{FF2B5EF4-FFF2-40B4-BE49-F238E27FC236}">
                  <a16:creationId xmlns:a16="http://schemas.microsoft.com/office/drawing/2014/main" id="{9965B84C-9390-47C0-9D84-BE84FD66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B2E4C0F-B532-4C36-8D02-51D33DE6C75D}"/>
              </a:ext>
            </a:extLst>
          </p:cNvPr>
          <p:cNvCxnSpPr>
            <a:cxnSpLocks/>
          </p:cNvCxnSpPr>
          <p:nvPr/>
        </p:nvCxnSpPr>
        <p:spPr>
          <a:xfrm>
            <a:off x="11495664" y="6560370"/>
            <a:ext cx="105233" cy="29763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3CCCC03-A808-48EC-A7E1-59D7CD8E471A}"/>
              </a:ext>
            </a:extLst>
          </p:cNvPr>
          <p:cNvCxnSpPr>
            <a:cxnSpLocks/>
          </p:cNvCxnSpPr>
          <p:nvPr/>
        </p:nvCxnSpPr>
        <p:spPr>
          <a:xfrm>
            <a:off x="11495662" y="6560370"/>
            <a:ext cx="3351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8999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AA97A3-C0E7-4D83-B8E9-2B604E020E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26" imgH="526" progId="TCLayout.ActiveDocument.1">
                  <p:embed/>
                </p:oleObj>
              </mc:Choice>
              <mc:Fallback>
                <p:oleObj name="Diapositiva de think-cell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AA97A3-C0E7-4D83-B8E9-2B604E020E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7EA385-3644-4906-9E5C-2B86AFAE0C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0C9D11-DC05-4B52-8459-44195AD87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79" y="138524"/>
            <a:ext cx="11725491" cy="408237"/>
          </a:xfrm>
          <a:prstGeom prst="rect">
            <a:avLst/>
          </a:prstGeom>
        </p:spPr>
        <p:txBody>
          <a:bodyPr/>
          <a:lstStyle>
            <a:lvl1pPr>
              <a:defRPr sz="287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3 Marcador de contenido">
            <a:extLst>
              <a:ext uri="{FF2B5EF4-FFF2-40B4-BE49-F238E27FC236}">
                <a16:creationId xmlns:a16="http://schemas.microsoft.com/office/drawing/2014/main" id="{E1A50097-97E8-49E0-8EC2-5B50AF24D9B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49870" y="1075092"/>
            <a:ext cx="11537599" cy="5400000"/>
          </a:xfrm>
          <a:prstGeom prst="rect">
            <a:avLst/>
          </a:prstGeom>
        </p:spPr>
        <p:txBody>
          <a:bodyPr/>
          <a:lstStyle>
            <a:lvl1pPr>
              <a:defRPr sz="1531">
                <a:solidFill>
                  <a:schemeClr val="accent4"/>
                </a:solidFill>
                <a:latin typeface="Flexo" pitchFamily="50" charset="0"/>
              </a:defRPr>
            </a:lvl1pPr>
            <a:lvl2pPr>
              <a:defRPr sz="1360">
                <a:solidFill>
                  <a:schemeClr val="accent4"/>
                </a:solidFill>
                <a:latin typeface="Flexo" pitchFamily="50" charset="0"/>
              </a:defRPr>
            </a:lvl2pPr>
            <a:lvl3pPr>
              <a:defRPr sz="1190">
                <a:solidFill>
                  <a:schemeClr val="accent4"/>
                </a:solidFill>
                <a:latin typeface="Flexo" pitchFamily="50" charset="0"/>
              </a:defRPr>
            </a:lvl3pPr>
            <a:lvl4pPr>
              <a:defRPr sz="1021">
                <a:solidFill>
                  <a:schemeClr val="accent4"/>
                </a:solidFill>
                <a:latin typeface="Flexo" pitchFamily="50" charset="0"/>
              </a:defRPr>
            </a:lvl4pPr>
            <a:lvl5pPr>
              <a:defRPr sz="1021">
                <a:solidFill>
                  <a:schemeClr val="accent4"/>
                </a:solidFill>
                <a:latin typeface="Flexo" pitchFamily="50" charset="0"/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292048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878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91BB414A-2D73-42B9-92A2-EB6CE3419F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84181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91BB414A-2D73-42B9-92A2-EB6CE3419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B608401-8210-426F-82F8-233810194E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625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6CE2CAA8-499F-4221-A888-CAF8E92C8DC4}"/>
              </a:ext>
            </a:extLst>
          </p:cNvPr>
          <p:cNvSpPr/>
          <p:nvPr userDrawn="1"/>
        </p:nvSpPr>
        <p:spPr>
          <a:xfrm>
            <a:off x="0" y="1"/>
            <a:ext cx="12192000" cy="13255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80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B40BA75-87CD-4EEF-B420-36E18EFD7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9830" y="13441"/>
            <a:ext cx="10414278" cy="1325563"/>
          </a:xfrm>
        </p:spPr>
        <p:txBody>
          <a:bodyPr>
            <a:normAutofit/>
          </a:bodyPr>
          <a:lstStyle>
            <a:lvl1pPr>
              <a:defRPr sz="2625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5E436D6-CEB8-4BDB-AD51-FEDFA6AF98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Flexo" pitchFamily="50" charset="0"/>
              </a:defRPr>
            </a:lvl1pPr>
            <a:lvl2pPr>
              <a:defRPr>
                <a:latin typeface="Flexo" pitchFamily="50" charset="0"/>
              </a:defRPr>
            </a:lvl2pPr>
            <a:lvl3pPr>
              <a:defRPr>
                <a:latin typeface="Flexo" pitchFamily="50" charset="0"/>
              </a:defRPr>
            </a:lvl3pPr>
            <a:lvl4pPr>
              <a:defRPr>
                <a:latin typeface="Flexo" pitchFamily="50" charset="0"/>
              </a:defRPr>
            </a:lvl4pPr>
            <a:lvl5pPr>
              <a:defRPr>
                <a:latin typeface="Flexo" pitchFamily="50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6BC2ADE-A35B-4078-9A90-C4E3A16B8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3/06/2025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26DD9A-3BDE-4D01-9C28-7E502F7C6C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4B15885-C053-4C57-A7E5-7B1E5D74E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01F67A7-FE2A-4B52-A94F-33EF824C33B4}"/>
              </a:ext>
            </a:extLst>
          </p:cNvPr>
          <p:cNvSpPr txBox="1"/>
          <p:nvPr userDrawn="1"/>
        </p:nvSpPr>
        <p:spPr>
          <a:xfrm>
            <a:off x="-1185178" y="1052989"/>
            <a:ext cx="1034084" cy="294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13" b="1">
                <a:solidFill>
                  <a:schemeClr val="bg1"/>
                </a:solidFill>
                <a:latin typeface="Flexo" pitchFamily="50" charset="0"/>
              </a:rPr>
              <a:t>Paleta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EACF40E6-2288-4227-9DBF-579816164EB4}"/>
              </a:ext>
            </a:extLst>
          </p:cNvPr>
          <p:cNvSpPr/>
          <p:nvPr userDrawn="1"/>
        </p:nvSpPr>
        <p:spPr>
          <a:xfrm>
            <a:off x="-1165412" y="2046743"/>
            <a:ext cx="945816" cy="636011"/>
          </a:xfrm>
          <a:prstGeom prst="rect">
            <a:avLst/>
          </a:prstGeom>
          <a:solidFill>
            <a:srgbClr val="00B2CE"/>
          </a:solidFill>
          <a:ln w="9525">
            <a:solidFill>
              <a:srgbClr val="00B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78796BE-6BD0-4387-BDAA-F5A4A0EED679}"/>
              </a:ext>
            </a:extLst>
          </p:cNvPr>
          <p:cNvSpPr/>
          <p:nvPr userDrawn="1"/>
        </p:nvSpPr>
        <p:spPr>
          <a:xfrm>
            <a:off x="-1165412" y="2683017"/>
            <a:ext cx="945816" cy="636011"/>
          </a:xfrm>
          <a:prstGeom prst="rect">
            <a:avLst/>
          </a:prstGeom>
          <a:solidFill>
            <a:srgbClr val="FF8000"/>
          </a:solidFill>
          <a:ln w="9525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53CBE68E-56E3-4445-8607-9E16685012D6}"/>
              </a:ext>
            </a:extLst>
          </p:cNvPr>
          <p:cNvSpPr/>
          <p:nvPr userDrawn="1"/>
        </p:nvSpPr>
        <p:spPr>
          <a:xfrm>
            <a:off x="-1165412" y="3319289"/>
            <a:ext cx="945816" cy="636011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330D8708-FD51-4299-AA82-04F48430F56E}"/>
              </a:ext>
            </a:extLst>
          </p:cNvPr>
          <p:cNvSpPr/>
          <p:nvPr userDrawn="1"/>
        </p:nvSpPr>
        <p:spPr>
          <a:xfrm>
            <a:off x="-1165412" y="3955562"/>
            <a:ext cx="945816" cy="636011"/>
          </a:xfrm>
          <a:prstGeom prst="rect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70F0E84E-3E0F-4C45-955C-836D5DCFDB4C}"/>
              </a:ext>
            </a:extLst>
          </p:cNvPr>
          <p:cNvSpPr/>
          <p:nvPr userDrawn="1"/>
        </p:nvSpPr>
        <p:spPr>
          <a:xfrm>
            <a:off x="-1165412" y="4591836"/>
            <a:ext cx="945816" cy="636011"/>
          </a:xfrm>
          <a:prstGeom prst="rect">
            <a:avLst/>
          </a:prstGeom>
          <a:solidFill>
            <a:srgbClr val="E2007B"/>
          </a:solidFill>
          <a:ln w="9525">
            <a:solidFill>
              <a:srgbClr val="E20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2">
                  <a:lumMod val="1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65455426-6CC9-4B21-82A3-E276A2C10D31}"/>
              </a:ext>
            </a:extLst>
          </p:cNvPr>
          <p:cNvSpPr/>
          <p:nvPr userDrawn="1"/>
        </p:nvSpPr>
        <p:spPr>
          <a:xfrm>
            <a:off x="-1165412" y="5228109"/>
            <a:ext cx="945816" cy="636011"/>
          </a:xfrm>
          <a:prstGeom prst="rect">
            <a:avLst/>
          </a:prstGeom>
          <a:solidFill>
            <a:srgbClr val="7F7F7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19B0C62-3BCA-4EC3-A956-17A93727D4CA}"/>
              </a:ext>
            </a:extLst>
          </p:cNvPr>
          <p:cNvSpPr/>
          <p:nvPr userDrawn="1"/>
        </p:nvSpPr>
        <p:spPr>
          <a:xfrm>
            <a:off x="-1165413" y="1410436"/>
            <a:ext cx="945816" cy="636011"/>
          </a:xfrm>
          <a:prstGeom prst="rect">
            <a:avLst/>
          </a:prstGeom>
          <a:solidFill>
            <a:srgbClr val="002C71"/>
          </a:solidFill>
          <a:ln w="9525">
            <a:solidFill>
              <a:srgbClr val="012D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8" tIns="42859" rIns="85718" bIns="4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25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EB0D6C6E-447E-4B43-ACE0-D690DA523CA2}"/>
              </a:ext>
            </a:extLst>
          </p:cNvPr>
          <p:cNvSpPr/>
          <p:nvPr userDrawn="1"/>
        </p:nvSpPr>
        <p:spPr bwMode="auto">
          <a:xfrm>
            <a:off x="-1162607" y="5864332"/>
            <a:ext cx="950702" cy="685800"/>
          </a:xfrm>
          <a:prstGeom prst="rect">
            <a:avLst/>
          </a:prstGeom>
          <a:solidFill>
            <a:srgbClr val="BFBFBF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5718" tIns="85718" rIns="85718" bIns="8571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33359"/>
            <a:endParaRPr lang="en-US" sz="1125">
              <a:solidFill>
                <a:schemeClr val="bg2">
                  <a:lumMod val="10000"/>
                </a:schemeClr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469708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8804607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7C797C-09E0-4702-B415-DC7ECB3101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802" b="23134"/>
          <a:stretch/>
        </p:blipFill>
        <p:spPr>
          <a:xfrm>
            <a:off x="5565985" y="997226"/>
            <a:ext cx="6626016" cy="4876745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>
                <a:solidFill>
                  <a:schemeClr val="accent4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4A0DA11-94E0-4542-8DAA-020EDC8AC6C9}"/>
              </a:ext>
            </a:extLst>
          </p:cNvPr>
          <p:cNvSpPr>
            <a:spLocks/>
          </p:cNvSpPr>
          <p:nvPr/>
        </p:nvSpPr>
        <p:spPr>
          <a:xfrm>
            <a:off x="5810982" y="5521367"/>
            <a:ext cx="2874851" cy="1336633"/>
          </a:xfrm>
          <a:custGeom>
            <a:avLst/>
            <a:gdLst>
              <a:gd name="connsiteX0" fmla="*/ 0 w 2817579"/>
              <a:gd name="connsiteY0" fmla="*/ 0 h 1310024"/>
              <a:gd name="connsiteX1" fmla="*/ 2354400 w 2817579"/>
              <a:gd name="connsiteY1" fmla="*/ 0 h 1310024"/>
              <a:gd name="connsiteX2" fmla="*/ 2358072 w 2817579"/>
              <a:gd name="connsiteY2" fmla="*/ 0 h 1310024"/>
              <a:gd name="connsiteX3" fmla="*/ 2358072 w 2817579"/>
              <a:gd name="connsiteY3" fmla="*/ 10386 h 1310024"/>
              <a:gd name="connsiteX4" fmla="*/ 2817579 w 2817579"/>
              <a:gd name="connsiteY4" fmla="*/ 1310024 h 1310024"/>
              <a:gd name="connsiteX5" fmla="*/ 459508 w 2817579"/>
              <a:gd name="connsiteY5" fmla="*/ 1310024 h 1310024"/>
              <a:gd name="connsiteX6" fmla="*/ 0 w 2817579"/>
              <a:gd name="connsiteY6" fmla="*/ 10386 h 1310024"/>
              <a:gd name="connsiteX7" fmla="*/ 0 w 2817579"/>
              <a:gd name="connsiteY7" fmla="*/ 0 h 1310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17579" h="1310024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2817579" y="1310024"/>
                </a:lnTo>
                <a:lnTo>
                  <a:pt x="459508" y="1310024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837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65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all" baseline="0">
                <a:solidFill>
                  <a:schemeClr val="accent4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562C820-CEB3-4AFD-B479-ED0141E3E705}"/>
              </a:ext>
            </a:extLst>
          </p:cNvPr>
          <p:cNvCxnSpPr>
            <a:cxnSpLocks/>
            <a:stCxn id="117" idx="0"/>
            <a:endCxn id="117" idx="3"/>
          </p:cNvCxnSpPr>
          <p:nvPr/>
        </p:nvCxnSpPr>
        <p:spPr>
          <a:xfrm>
            <a:off x="3853923" y="754087"/>
            <a:ext cx="433423" cy="11824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FAA0926-482B-4801-9155-BC0A4B20820A}"/>
              </a:ext>
            </a:extLst>
          </p:cNvPr>
          <p:cNvCxnSpPr>
            <a:cxnSpLocks/>
            <a:endCxn id="117" idx="3"/>
          </p:cNvCxnSpPr>
          <p:nvPr/>
        </p:nvCxnSpPr>
        <p:spPr>
          <a:xfrm flipH="1">
            <a:off x="4287346" y="1936526"/>
            <a:ext cx="441077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2081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8574055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15C8C78C-7F33-4A6B-87A1-75A5656AD06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639396" y="1240193"/>
            <a:ext cx="6552605" cy="4368338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837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1C1D061B-23AF-46A0-9322-57E283404A7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5024" t="39512" r="19274" b="50000"/>
          <a:stretch>
            <a:fillRect/>
          </a:stretch>
        </p:blipFill>
        <p:spPr>
          <a:xfrm>
            <a:off x="4027845" y="0"/>
            <a:ext cx="2349744" cy="575048"/>
          </a:xfrm>
          <a:custGeom>
            <a:avLst/>
            <a:gdLst>
              <a:gd name="connsiteX0" fmla="*/ 0 w 2302933"/>
              <a:gd name="connsiteY0" fmla="*/ 0 h 563600"/>
              <a:gd name="connsiteX1" fmla="*/ 2103664 w 2302933"/>
              <a:gd name="connsiteY1" fmla="*/ 0 h 563600"/>
              <a:gd name="connsiteX2" fmla="*/ 2302933 w 2302933"/>
              <a:gd name="connsiteY2" fmla="*/ 563600 h 563600"/>
              <a:gd name="connsiteX3" fmla="*/ 199269 w 2302933"/>
              <a:gd name="connsiteY3" fmla="*/ 563600 h 563600"/>
              <a:gd name="connsiteX4" fmla="*/ 0 w 2302933"/>
              <a:gd name="connsiteY4" fmla="*/ 0 h 5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2933" h="563600">
                <a:moveTo>
                  <a:pt x="0" y="0"/>
                </a:moveTo>
                <a:lnTo>
                  <a:pt x="2103664" y="0"/>
                </a:lnTo>
                <a:lnTo>
                  <a:pt x="2302933" y="563600"/>
                </a:lnTo>
                <a:lnTo>
                  <a:pt x="199269" y="563600"/>
                </a:lnTo>
                <a:lnTo>
                  <a:pt x="0" y="0"/>
                </a:lnTo>
                <a:close/>
              </a:path>
            </a:pathLst>
          </a:custGeom>
        </p:spPr>
      </p:pic>
      <p:grpSp>
        <p:nvGrpSpPr>
          <p:cNvPr id="29" name="LogoImage">
            <a:extLst>
              <a:ext uri="{FF2B5EF4-FFF2-40B4-BE49-F238E27FC236}">
                <a16:creationId xmlns:a16="http://schemas.microsoft.com/office/drawing/2014/main" id="{F854849A-57E5-497F-BE9B-A6CC7E47D7E7}"/>
              </a:ext>
            </a:extLst>
          </p:cNvPr>
          <p:cNvGrpSpPr/>
          <p:nvPr userDrawn="1"/>
        </p:nvGrpSpPr>
        <p:grpSpPr>
          <a:xfrm>
            <a:off x="3726338" y="5666487"/>
            <a:ext cx="3085436" cy="981221"/>
            <a:chOff x="3029003" y="258214"/>
            <a:chExt cx="1706951" cy="542847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A18BFC72-CE2B-41C8-9785-985E3BD50FE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029003" y="258214"/>
              <a:ext cx="1706951" cy="5428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sz="1632">
                <a:latin typeface="Theinhardt Pan Light" panose="020B0404020101020102" pitchFamily="34" charset="0"/>
              </a:endParaRPr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78E3880A-715E-4390-B929-7CFBF8E728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29003" y="258443"/>
              <a:ext cx="1706951" cy="542618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sz="1632">
                <a:latin typeface="Theinhardt Pan Light" panose="020B0404020101020102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1622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306018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954" name="Picture 546" descr="https://www.bcp.com.bo/Content/images/Otros/imagen001.jpg">
            <a:extLst>
              <a:ext uri="{FF2B5EF4-FFF2-40B4-BE49-F238E27FC236}">
                <a16:creationId xmlns:a16="http://schemas.microsoft.com/office/drawing/2014/main" id="{3EA97854-121E-4682-AC9F-6396B15824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5615"/>
          <a:stretch/>
        </p:blipFill>
        <p:spPr bwMode="auto">
          <a:xfrm>
            <a:off x="4409560" y="984027"/>
            <a:ext cx="7782440" cy="48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68F6781-56A0-43F1-A5CE-A7A1FA08FECD}"/>
              </a:ext>
            </a:extLst>
          </p:cNvPr>
          <p:cNvSpPr>
            <a:spLocks/>
          </p:cNvSpPr>
          <p:nvPr/>
        </p:nvSpPr>
        <p:spPr>
          <a:xfrm>
            <a:off x="5549497" y="4721190"/>
            <a:ext cx="3157771" cy="2136809"/>
          </a:xfrm>
          <a:custGeom>
            <a:avLst/>
            <a:gdLst>
              <a:gd name="connsiteX0" fmla="*/ 0 w 3094862"/>
              <a:gd name="connsiteY0" fmla="*/ 0 h 2094271"/>
              <a:gd name="connsiteX1" fmla="*/ 2354400 w 3094862"/>
              <a:gd name="connsiteY1" fmla="*/ 0 h 2094271"/>
              <a:gd name="connsiteX2" fmla="*/ 2358072 w 3094862"/>
              <a:gd name="connsiteY2" fmla="*/ 0 h 2094271"/>
              <a:gd name="connsiteX3" fmla="*/ 2358072 w 3094862"/>
              <a:gd name="connsiteY3" fmla="*/ 10386 h 2094271"/>
              <a:gd name="connsiteX4" fmla="*/ 3094862 w 3094862"/>
              <a:gd name="connsiteY4" fmla="*/ 2094271 h 2094271"/>
              <a:gd name="connsiteX5" fmla="*/ 736790 w 3094862"/>
              <a:gd name="connsiteY5" fmla="*/ 2094271 h 2094271"/>
              <a:gd name="connsiteX6" fmla="*/ 0 w 3094862"/>
              <a:gd name="connsiteY6" fmla="*/ 10386 h 2094271"/>
              <a:gd name="connsiteX7" fmla="*/ 0 w 3094862"/>
              <a:gd name="connsiteY7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94862" h="2094271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3094862" y="2094271"/>
                </a:lnTo>
                <a:lnTo>
                  <a:pt x="736790" y="2094271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837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</p:spTree>
    <p:extLst>
      <p:ext uri="{BB962C8B-B14F-4D97-AF65-F5344CB8AC3E}">
        <p14:creationId xmlns:p14="http://schemas.microsoft.com/office/powerpoint/2010/main" val="20269459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6707270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19076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0" imgH="371" progId="TCLayout.ActiveDocument.1">
                  <p:embed/>
                </p:oleObj>
              </mc:Choice>
              <mc:Fallback>
                <p:oleObj name="Diapositiva de think-cell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8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79" y="101900"/>
            <a:ext cx="11860664" cy="408237"/>
          </a:xfrm>
          <a:prstGeom prst="rect">
            <a:avLst/>
          </a:prstGeom>
        </p:spPr>
        <p:txBody>
          <a:bodyPr/>
          <a:lstStyle>
            <a:lvl1pPr>
              <a:defRPr sz="2519" b="1">
                <a:solidFill>
                  <a:schemeClr val="accent4"/>
                </a:solidFill>
                <a:latin typeface="Flexo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9CED1FD3-6F8C-41F3-A722-8D849376F6B2}"/>
              </a:ext>
            </a:extLst>
          </p:cNvPr>
          <p:cNvSpPr/>
          <p:nvPr userDrawn="1"/>
        </p:nvSpPr>
        <p:spPr>
          <a:xfrm>
            <a:off x="9645" y="662118"/>
            <a:ext cx="1309224" cy="5897648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72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9CA4A21D-F929-43DE-B86A-C38CF6D538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110" y="5194037"/>
            <a:ext cx="578296" cy="542107"/>
          </a:xfrm>
          <a:prstGeom prst="rect">
            <a:avLst/>
          </a:prstGeom>
        </p:spPr>
      </p:pic>
      <p:sp>
        <p:nvSpPr>
          <p:cNvPr id="8" name="Shape 552">
            <a:extLst>
              <a:ext uri="{FF2B5EF4-FFF2-40B4-BE49-F238E27FC236}">
                <a16:creationId xmlns:a16="http://schemas.microsoft.com/office/drawing/2014/main" id="{42959B1E-294D-44A5-BFFA-6D3515501A5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7812" y="3509235"/>
            <a:ext cx="552891" cy="421112"/>
          </a:xfrm>
          <a:custGeom>
            <a:avLst/>
            <a:gdLst>
              <a:gd name="T0" fmla="*/ 2147483646 w 16266"/>
              <a:gd name="T1" fmla="*/ 2147483646 h 14215"/>
              <a:gd name="T2" fmla="*/ 2147483646 w 16266"/>
              <a:gd name="T3" fmla="*/ 2147483646 h 14215"/>
              <a:gd name="T4" fmla="*/ 2147483646 w 16266"/>
              <a:gd name="T5" fmla="*/ 2147483646 h 14215"/>
              <a:gd name="T6" fmla="*/ 2147483646 w 16266"/>
              <a:gd name="T7" fmla="*/ 2147483646 h 14215"/>
              <a:gd name="T8" fmla="*/ 2147483646 w 16266"/>
              <a:gd name="T9" fmla="*/ 2147483646 h 14215"/>
              <a:gd name="T10" fmla="*/ 2147483646 w 16266"/>
              <a:gd name="T11" fmla="*/ 2147483646 h 14215"/>
              <a:gd name="T12" fmla="*/ 2147483646 w 16266"/>
              <a:gd name="T13" fmla="*/ 2147483646 h 14215"/>
              <a:gd name="T14" fmla="*/ 2147483646 w 16266"/>
              <a:gd name="T15" fmla="*/ 2147483646 h 14215"/>
              <a:gd name="T16" fmla="*/ 2147483646 w 16266"/>
              <a:gd name="T17" fmla="*/ 2147483646 h 14215"/>
              <a:gd name="T18" fmla="*/ 2147483646 w 16266"/>
              <a:gd name="T19" fmla="*/ 2147483646 h 14215"/>
              <a:gd name="T20" fmla="*/ 2147483646 w 16266"/>
              <a:gd name="T21" fmla="*/ 2147483646 h 14215"/>
              <a:gd name="T22" fmla="*/ 2147483646 w 16266"/>
              <a:gd name="T23" fmla="*/ 2147483646 h 14215"/>
              <a:gd name="T24" fmla="*/ 2147483646 w 16266"/>
              <a:gd name="T25" fmla="*/ 2147483646 h 14215"/>
              <a:gd name="T26" fmla="*/ 2147483646 w 16266"/>
              <a:gd name="T27" fmla="*/ 2147483646 h 14215"/>
              <a:gd name="T28" fmla="*/ 2147483646 w 16266"/>
              <a:gd name="T29" fmla="*/ 2147483646 h 14215"/>
              <a:gd name="T30" fmla="*/ 2147483646 w 16266"/>
              <a:gd name="T31" fmla="*/ 2147483646 h 14215"/>
              <a:gd name="T32" fmla="*/ 2147483646 w 16266"/>
              <a:gd name="T33" fmla="*/ 2147483646 h 14215"/>
              <a:gd name="T34" fmla="*/ 2147483646 w 16266"/>
              <a:gd name="T35" fmla="*/ 2147483646 h 14215"/>
              <a:gd name="T36" fmla="*/ 2147483646 w 16266"/>
              <a:gd name="T37" fmla="*/ 2147483646 h 14215"/>
              <a:gd name="T38" fmla="*/ 2147483646 w 16266"/>
              <a:gd name="T39" fmla="*/ 2147483646 h 14215"/>
              <a:gd name="T40" fmla="*/ 2147483646 w 16266"/>
              <a:gd name="T41" fmla="*/ 2147483646 h 14215"/>
              <a:gd name="T42" fmla="*/ 2147483646 w 16266"/>
              <a:gd name="T43" fmla="*/ 2147483646 h 14215"/>
              <a:gd name="T44" fmla="*/ 2147483646 w 16266"/>
              <a:gd name="T45" fmla="*/ 2147483646 h 14215"/>
              <a:gd name="T46" fmla="*/ 2147483646 w 16266"/>
              <a:gd name="T47" fmla="*/ 2147483646 h 14215"/>
              <a:gd name="T48" fmla="*/ 2147483646 w 16266"/>
              <a:gd name="T49" fmla="*/ 2147483646 h 14215"/>
              <a:gd name="T50" fmla="*/ 2147483646 w 16266"/>
              <a:gd name="T51" fmla="*/ 2147483646 h 14215"/>
              <a:gd name="T52" fmla="*/ 2147483646 w 16266"/>
              <a:gd name="T53" fmla="*/ 2147483646 h 14215"/>
              <a:gd name="T54" fmla="*/ 2147483646 w 16266"/>
              <a:gd name="T55" fmla="*/ 2147483646 h 14215"/>
              <a:gd name="T56" fmla="*/ 2147483646 w 16266"/>
              <a:gd name="T57" fmla="*/ 2147483646 h 14215"/>
              <a:gd name="T58" fmla="*/ 2147483646 w 16266"/>
              <a:gd name="T59" fmla="*/ 2147483646 h 14215"/>
              <a:gd name="T60" fmla="*/ 2147483646 w 16266"/>
              <a:gd name="T61" fmla="*/ 2147483646 h 14215"/>
              <a:gd name="T62" fmla="*/ 2147483646 w 16266"/>
              <a:gd name="T63" fmla="*/ 2147483646 h 14215"/>
              <a:gd name="T64" fmla="*/ 2147483646 w 16266"/>
              <a:gd name="T65" fmla="*/ 2147483646 h 14215"/>
              <a:gd name="T66" fmla="*/ 2147483646 w 16266"/>
              <a:gd name="T67" fmla="*/ 2147483646 h 14215"/>
              <a:gd name="T68" fmla="*/ 2147483646 w 16266"/>
              <a:gd name="T69" fmla="*/ 2147483646 h 14215"/>
              <a:gd name="T70" fmla="*/ 2147483646 w 16266"/>
              <a:gd name="T71" fmla="*/ 2147483646 h 14215"/>
              <a:gd name="T72" fmla="*/ 2147483646 w 16266"/>
              <a:gd name="T73" fmla="*/ 2147483646 h 14215"/>
              <a:gd name="T74" fmla="*/ 2147483646 w 16266"/>
              <a:gd name="T75" fmla="*/ 2147483646 h 14215"/>
              <a:gd name="T76" fmla="*/ 2147483646 w 16266"/>
              <a:gd name="T77" fmla="*/ 2147483646 h 14215"/>
              <a:gd name="T78" fmla="*/ 0 w 16266"/>
              <a:gd name="T79" fmla="*/ 2147483646 h 14215"/>
              <a:gd name="T80" fmla="*/ 0 w 16266"/>
              <a:gd name="T81" fmla="*/ 2147483646 h 14215"/>
              <a:gd name="T82" fmla="*/ 2147483646 w 16266"/>
              <a:gd name="T83" fmla="*/ 2147483646 h 14215"/>
              <a:gd name="T84" fmla="*/ 2147483646 w 16266"/>
              <a:gd name="T85" fmla="*/ 2147483646 h 14215"/>
              <a:gd name="T86" fmla="*/ 2147483646 w 16266"/>
              <a:gd name="T87" fmla="*/ 2147483646 h 14215"/>
              <a:gd name="T88" fmla="*/ 2147483646 w 16266"/>
              <a:gd name="T89" fmla="*/ 2147483646 h 14215"/>
              <a:gd name="T90" fmla="*/ 2147483646 w 16266"/>
              <a:gd name="T91" fmla="*/ 2147483646 h 14215"/>
              <a:gd name="T92" fmla="*/ 2147483646 w 16266"/>
              <a:gd name="T93" fmla="*/ 2147483646 h 14215"/>
              <a:gd name="T94" fmla="*/ 2147483646 w 16266"/>
              <a:gd name="T95" fmla="*/ 2147483646 h 14215"/>
              <a:gd name="T96" fmla="*/ 2147483646 w 16266"/>
              <a:gd name="T97" fmla="*/ 2147483646 h 14215"/>
              <a:gd name="T98" fmla="*/ 2147483646 w 16266"/>
              <a:gd name="T99" fmla="*/ 2147483646 h 14215"/>
              <a:gd name="T100" fmla="*/ 2147483646 w 16266"/>
              <a:gd name="T101" fmla="*/ 2147483646 h 14215"/>
              <a:gd name="T102" fmla="*/ 2147483646 w 16266"/>
              <a:gd name="T103" fmla="*/ 2147483646 h 14215"/>
              <a:gd name="T104" fmla="*/ 2147483646 w 16266"/>
              <a:gd name="T105" fmla="*/ 2147483646 h 14215"/>
              <a:gd name="T106" fmla="*/ 2147483646 w 16266"/>
              <a:gd name="T107" fmla="*/ 2147483646 h 14215"/>
              <a:gd name="T108" fmla="*/ 2147483646 w 16266"/>
              <a:gd name="T109" fmla="*/ 2147483646 h 14215"/>
              <a:gd name="T110" fmla="*/ 2147483646 w 16266"/>
              <a:gd name="T111" fmla="*/ 2147483646 h 14215"/>
              <a:gd name="T112" fmla="*/ 2147483646 w 16266"/>
              <a:gd name="T113" fmla="*/ 2147483646 h 14215"/>
              <a:gd name="T114" fmla="*/ 2147483646 w 16266"/>
              <a:gd name="T115" fmla="*/ 0 h 1421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6266"/>
              <a:gd name="T175" fmla="*/ 0 h 14215"/>
              <a:gd name="T176" fmla="*/ 16266 w 16266"/>
              <a:gd name="T177" fmla="*/ 14215 h 14215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6266" h="14215" extrusionOk="0">
                <a:moveTo>
                  <a:pt x="8597" y="4397"/>
                </a:moveTo>
                <a:lnTo>
                  <a:pt x="8719" y="4421"/>
                </a:lnTo>
                <a:lnTo>
                  <a:pt x="8866" y="4445"/>
                </a:lnTo>
                <a:lnTo>
                  <a:pt x="8988" y="4519"/>
                </a:lnTo>
                <a:lnTo>
                  <a:pt x="9085" y="4616"/>
                </a:lnTo>
                <a:lnTo>
                  <a:pt x="9159" y="4714"/>
                </a:lnTo>
                <a:lnTo>
                  <a:pt x="9208" y="4836"/>
                </a:lnTo>
                <a:lnTo>
                  <a:pt x="9232" y="4958"/>
                </a:lnTo>
                <a:lnTo>
                  <a:pt x="9256" y="5105"/>
                </a:lnTo>
                <a:lnTo>
                  <a:pt x="8963" y="8939"/>
                </a:lnTo>
                <a:lnTo>
                  <a:pt x="8939" y="9086"/>
                </a:lnTo>
                <a:lnTo>
                  <a:pt x="8890" y="9232"/>
                </a:lnTo>
                <a:lnTo>
                  <a:pt x="8817" y="9330"/>
                </a:lnTo>
                <a:lnTo>
                  <a:pt x="8719" y="9452"/>
                </a:lnTo>
                <a:lnTo>
                  <a:pt x="8597" y="9525"/>
                </a:lnTo>
                <a:lnTo>
                  <a:pt x="8475" y="9599"/>
                </a:lnTo>
                <a:lnTo>
                  <a:pt x="8353" y="9648"/>
                </a:lnTo>
                <a:lnTo>
                  <a:pt x="7913" y="9648"/>
                </a:lnTo>
                <a:lnTo>
                  <a:pt x="7791" y="9599"/>
                </a:lnTo>
                <a:lnTo>
                  <a:pt x="7669" y="9525"/>
                </a:lnTo>
                <a:lnTo>
                  <a:pt x="7547" y="9452"/>
                </a:lnTo>
                <a:lnTo>
                  <a:pt x="7449" y="9330"/>
                </a:lnTo>
                <a:lnTo>
                  <a:pt x="7376" y="9232"/>
                </a:lnTo>
                <a:lnTo>
                  <a:pt x="7327" y="9086"/>
                </a:lnTo>
                <a:lnTo>
                  <a:pt x="7303" y="8939"/>
                </a:lnTo>
                <a:lnTo>
                  <a:pt x="7010" y="5105"/>
                </a:lnTo>
                <a:lnTo>
                  <a:pt x="7034" y="4958"/>
                </a:lnTo>
                <a:lnTo>
                  <a:pt x="7058" y="4836"/>
                </a:lnTo>
                <a:lnTo>
                  <a:pt x="7107" y="4714"/>
                </a:lnTo>
                <a:lnTo>
                  <a:pt x="7180" y="4616"/>
                </a:lnTo>
                <a:lnTo>
                  <a:pt x="7278" y="4519"/>
                </a:lnTo>
                <a:lnTo>
                  <a:pt x="7400" y="4445"/>
                </a:lnTo>
                <a:lnTo>
                  <a:pt x="7547" y="4421"/>
                </a:lnTo>
                <a:lnTo>
                  <a:pt x="7669" y="4397"/>
                </a:lnTo>
                <a:lnTo>
                  <a:pt x="8597" y="4397"/>
                </a:lnTo>
                <a:close/>
                <a:moveTo>
                  <a:pt x="8133" y="10429"/>
                </a:moveTo>
                <a:lnTo>
                  <a:pt x="8328" y="10454"/>
                </a:lnTo>
                <a:lnTo>
                  <a:pt x="8499" y="10502"/>
                </a:lnTo>
                <a:lnTo>
                  <a:pt x="8670" y="10600"/>
                </a:lnTo>
                <a:lnTo>
                  <a:pt x="8817" y="10722"/>
                </a:lnTo>
                <a:lnTo>
                  <a:pt x="8939" y="10869"/>
                </a:lnTo>
                <a:lnTo>
                  <a:pt x="9037" y="11040"/>
                </a:lnTo>
                <a:lnTo>
                  <a:pt x="9085" y="11211"/>
                </a:lnTo>
                <a:lnTo>
                  <a:pt x="9110" y="11406"/>
                </a:lnTo>
                <a:lnTo>
                  <a:pt x="9085" y="11601"/>
                </a:lnTo>
                <a:lnTo>
                  <a:pt x="9037" y="11797"/>
                </a:lnTo>
                <a:lnTo>
                  <a:pt x="8939" y="11943"/>
                </a:lnTo>
                <a:lnTo>
                  <a:pt x="8817" y="12090"/>
                </a:lnTo>
                <a:lnTo>
                  <a:pt x="8670" y="12212"/>
                </a:lnTo>
                <a:lnTo>
                  <a:pt x="8499" y="12310"/>
                </a:lnTo>
                <a:lnTo>
                  <a:pt x="8328" y="12359"/>
                </a:lnTo>
                <a:lnTo>
                  <a:pt x="8133" y="12383"/>
                </a:lnTo>
                <a:lnTo>
                  <a:pt x="7938" y="12359"/>
                </a:lnTo>
                <a:lnTo>
                  <a:pt x="7742" y="12310"/>
                </a:lnTo>
                <a:lnTo>
                  <a:pt x="7596" y="12212"/>
                </a:lnTo>
                <a:lnTo>
                  <a:pt x="7449" y="12090"/>
                </a:lnTo>
                <a:lnTo>
                  <a:pt x="7327" y="11943"/>
                </a:lnTo>
                <a:lnTo>
                  <a:pt x="7229" y="11797"/>
                </a:lnTo>
                <a:lnTo>
                  <a:pt x="7180" y="11601"/>
                </a:lnTo>
                <a:lnTo>
                  <a:pt x="7156" y="11406"/>
                </a:lnTo>
                <a:lnTo>
                  <a:pt x="7180" y="11211"/>
                </a:lnTo>
                <a:lnTo>
                  <a:pt x="7229" y="11040"/>
                </a:lnTo>
                <a:lnTo>
                  <a:pt x="7327" y="10869"/>
                </a:lnTo>
                <a:lnTo>
                  <a:pt x="7449" y="10722"/>
                </a:lnTo>
                <a:lnTo>
                  <a:pt x="7596" y="10600"/>
                </a:lnTo>
                <a:lnTo>
                  <a:pt x="7742" y="10502"/>
                </a:lnTo>
                <a:lnTo>
                  <a:pt x="7938" y="10454"/>
                </a:lnTo>
                <a:lnTo>
                  <a:pt x="8133" y="10429"/>
                </a:lnTo>
                <a:close/>
                <a:moveTo>
                  <a:pt x="7986" y="0"/>
                </a:moveTo>
                <a:lnTo>
                  <a:pt x="7864" y="25"/>
                </a:lnTo>
                <a:lnTo>
                  <a:pt x="7742" y="74"/>
                </a:lnTo>
                <a:lnTo>
                  <a:pt x="7620" y="123"/>
                </a:lnTo>
                <a:lnTo>
                  <a:pt x="7522" y="196"/>
                </a:lnTo>
                <a:lnTo>
                  <a:pt x="7425" y="294"/>
                </a:lnTo>
                <a:lnTo>
                  <a:pt x="7327" y="391"/>
                </a:lnTo>
                <a:lnTo>
                  <a:pt x="7254" y="489"/>
                </a:lnTo>
                <a:lnTo>
                  <a:pt x="147" y="12700"/>
                </a:lnTo>
                <a:lnTo>
                  <a:pt x="73" y="12823"/>
                </a:lnTo>
                <a:lnTo>
                  <a:pt x="25" y="12945"/>
                </a:lnTo>
                <a:lnTo>
                  <a:pt x="0" y="13067"/>
                </a:lnTo>
                <a:lnTo>
                  <a:pt x="0" y="13213"/>
                </a:lnTo>
                <a:lnTo>
                  <a:pt x="0" y="13335"/>
                </a:lnTo>
                <a:lnTo>
                  <a:pt x="25" y="13458"/>
                </a:lnTo>
                <a:lnTo>
                  <a:pt x="73" y="13604"/>
                </a:lnTo>
                <a:lnTo>
                  <a:pt x="147" y="13726"/>
                </a:lnTo>
                <a:lnTo>
                  <a:pt x="220" y="13824"/>
                </a:lnTo>
                <a:lnTo>
                  <a:pt x="293" y="13922"/>
                </a:lnTo>
                <a:lnTo>
                  <a:pt x="391" y="14019"/>
                </a:lnTo>
                <a:lnTo>
                  <a:pt x="513" y="14093"/>
                </a:lnTo>
                <a:lnTo>
                  <a:pt x="635" y="14141"/>
                </a:lnTo>
                <a:lnTo>
                  <a:pt x="757" y="14190"/>
                </a:lnTo>
                <a:lnTo>
                  <a:pt x="879" y="14215"/>
                </a:lnTo>
                <a:lnTo>
                  <a:pt x="15387" y="14215"/>
                </a:lnTo>
                <a:lnTo>
                  <a:pt x="15509" y="14190"/>
                </a:lnTo>
                <a:lnTo>
                  <a:pt x="15631" y="14141"/>
                </a:lnTo>
                <a:lnTo>
                  <a:pt x="15753" y="14093"/>
                </a:lnTo>
                <a:lnTo>
                  <a:pt x="15875" y="14019"/>
                </a:lnTo>
                <a:lnTo>
                  <a:pt x="15973" y="13922"/>
                </a:lnTo>
                <a:lnTo>
                  <a:pt x="16046" y="13824"/>
                </a:lnTo>
                <a:lnTo>
                  <a:pt x="16119" y="13726"/>
                </a:lnTo>
                <a:lnTo>
                  <a:pt x="16193" y="13604"/>
                </a:lnTo>
                <a:lnTo>
                  <a:pt x="16241" y="13458"/>
                </a:lnTo>
                <a:lnTo>
                  <a:pt x="16266" y="13335"/>
                </a:lnTo>
                <a:lnTo>
                  <a:pt x="16266" y="13213"/>
                </a:lnTo>
                <a:lnTo>
                  <a:pt x="16266" y="13067"/>
                </a:lnTo>
                <a:lnTo>
                  <a:pt x="16241" y="12945"/>
                </a:lnTo>
                <a:lnTo>
                  <a:pt x="16193" y="12823"/>
                </a:lnTo>
                <a:lnTo>
                  <a:pt x="16119" y="12700"/>
                </a:lnTo>
                <a:lnTo>
                  <a:pt x="9012" y="489"/>
                </a:lnTo>
                <a:lnTo>
                  <a:pt x="8939" y="391"/>
                </a:lnTo>
                <a:lnTo>
                  <a:pt x="8841" y="294"/>
                </a:lnTo>
                <a:lnTo>
                  <a:pt x="8744" y="196"/>
                </a:lnTo>
                <a:lnTo>
                  <a:pt x="8646" y="123"/>
                </a:lnTo>
                <a:lnTo>
                  <a:pt x="8524" y="74"/>
                </a:lnTo>
                <a:lnTo>
                  <a:pt x="8402" y="25"/>
                </a:lnTo>
                <a:lnTo>
                  <a:pt x="8255" y="0"/>
                </a:lnTo>
                <a:lnTo>
                  <a:pt x="7986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lIns="82265" tIns="82265" rIns="82265" bIns="82265" anchor="ctr"/>
          <a:lstStyle/>
          <a:p>
            <a:pPr marL="0" marR="0" lvl="0" indent="0" algn="l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080" b="0" i="0" u="none" strike="noStrike" kern="1200" cap="none" spc="0" normalizeH="0" baseline="0" noProof="0">
              <a:ln>
                <a:noFill/>
              </a:ln>
              <a:solidFill>
                <a:srgbClr val="323F4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B593565-EC3B-4287-9B39-70983CC5CFFF}"/>
              </a:ext>
            </a:extLst>
          </p:cNvPr>
          <p:cNvSpPr txBox="1"/>
          <p:nvPr userDrawn="1"/>
        </p:nvSpPr>
        <p:spPr>
          <a:xfrm>
            <a:off x="59533" y="3893141"/>
            <a:ext cx="120944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Riesgos/</a:t>
            </a:r>
          </a:p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Problemas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7EAE267-C756-434A-A123-6A8DEBEE827F}"/>
              </a:ext>
            </a:extLst>
          </p:cNvPr>
          <p:cNvSpPr txBox="1"/>
          <p:nvPr userDrawn="1"/>
        </p:nvSpPr>
        <p:spPr>
          <a:xfrm>
            <a:off x="59533" y="5820578"/>
            <a:ext cx="120944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Siguientes paso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F79CC2C-FCB8-4B04-A4DF-4A546FD56C36}"/>
              </a:ext>
            </a:extLst>
          </p:cNvPr>
          <p:cNvSpPr txBox="1"/>
          <p:nvPr userDrawn="1"/>
        </p:nvSpPr>
        <p:spPr>
          <a:xfrm>
            <a:off x="59533" y="1968330"/>
            <a:ext cx="120944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227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80" b="0" i="0" u="none" strike="noStrike" kern="0" cap="none" spc="0" normalizeH="0" baseline="0" noProof="0">
                <a:ln>
                  <a:noFill/>
                </a:ln>
                <a:solidFill>
                  <a:srgbClr val="323F4F"/>
                </a:solidFill>
                <a:effectLst/>
                <a:uLnTx/>
                <a:uFillTx/>
                <a:latin typeface="Flexo" pitchFamily="50" charset="0"/>
                <a:ea typeface="+mn-ea"/>
                <a:cs typeface="Arial" panose="020B0604020202020204" pitchFamily="34" charset="0"/>
              </a:rPr>
              <a:t>Entrega de Valor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F557961-AB7C-4D81-AD2A-C37B226E71A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34225" y="1209413"/>
            <a:ext cx="1060067" cy="769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914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4849" y="1"/>
            <a:ext cx="10287152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2F09DA5-2894-4EC1-9C90-665D9D6A5B9E}"/>
              </a:ext>
            </a:extLst>
          </p:cNvPr>
          <p:cNvSpPr>
            <a:spLocks/>
          </p:cNvSpPr>
          <p:nvPr/>
        </p:nvSpPr>
        <p:spPr>
          <a:xfrm>
            <a:off x="1" y="-1"/>
            <a:ext cx="12192000" cy="6858000"/>
          </a:xfrm>
          <a:prstGeom prst="rect">
            <a:avLst/>
          </a:prstGeom>
          <a:solidFill>
            <a:srgbClr val="F39D1D">
              <a:alpha val="6705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1A62CCF-F230-4083-B80D-8EFF998D4248}"/>
              </a:ext>
            </a:extLst>
          </p:cNvPr>
          <p:cNvSpPr>
            <a:spLocks/>
          </p:cNvSpPr>
          <p:nvPr userDrawn="1"/>
        </p:nvSpPr>
        <p:spPr>
          <a:xfrm>
            <a:off x="1" y="1"/>
            <a:ext cx="9111058" cy="6858000"/>
          </a:xfrm>
          <a:custGeom>
            <a:avLst/>
            <a:gdLst>
              <a:gd name="connsiteX0" fmla="*/ 0 w 8929549"/>
              <a:gd name="connsiteY0" fmla="*/ 0 h 6721475"/>
              <a:gd name="connsiteX1" fmla="*/ 1797646 w 8929549"/>
              <a:gd name="connsiteY1" fmla="*/ 0 h 6721475"/>
              <a:gd name="connsiteX2" fmla="*/ 1888573 w 8929549"/>
              <a:gd name="connsiteY2" fmla="*/ 0 h 6721475"/>
              <a:gd name="connsiteX3" fmla="*/ 2866850 w 8929549"/>
              <a:gd name="connsiteY3" fmla="*/ 0 h 6721475"/>
              <a:gd name="connsiteX4" fmla="*/ 2870522 w 8929549"/>
              <a:gd name="connsiteY4" fmla="*/ 0 h 6721475"/>
              <a:gd name="connsiteX5" fmla="*/ 3686219 w 8929549"/>
              <a:gd name="connsiteY5" fmla="*/ 0 h 6721475"/>
              <a:gd name="connsiteX6" fmla="*/ 4664496 w 8929549"/>
              <a:gd name="connsiteY6" fmla="*/ 0 h 6721475"/>
              <a:gd name="connsiteX7" fmla="*/ 4668168 w 8929549"/>
              <a:gd name="connsiteY7" fmla="*/ 0 h 6721475"/>
              <a:gd name="connsiteX8" fmla="*/ 4755423 w 8929549"/>
              <a:gd name="connsiteY8" fmla="*/ 0 h 6721475"/>
              <a:gd name="connsiteX9" fmla="*/ 4759095 w 8929549"/>
              <a:gd name="connsiteY9" fmla="*/ 0 h 6721475"/>
              <a:gd name="connsiteX10" fmla="*/ 6553069 w 8929549"/>
              <a:gd name="connsiteY10" fmla="*/ 0 h 6721475"/>
              <a:gd name="connsiteX11" fmla="*/ 6556741 w 8929549"/>
              <a:gd name="connsiteY11" fmla="*/ 0 h 6721475"/>
              <a:gd name="connsiteX12" fmla="*/ 6556741 w 8929549"/>
              <a:gd name="connsiteY12" fmla="*/ 10386 h 6721475"/>
              <a:gd name="connsiteX13" fmla="*/ 8929549 w 8929549"/>
              <a:gd name="connsiteY13" fmla="*/ 6721475 h 6721475"/>
              <a:gd name="connsiteX14" fmla="*/ 7131903 w 8929549"/>
              <a:gd name="connsiteY14" fmla="*/ 6721475 h 6721475"/>
              <a:gd name="connsiteX15" fmla="*/ 7040976 w 8929549"/>
              <a:gd name="connsiteY15" fmla="*/ 6721475 h 6721475"/>
              <a:gd name="connsiteX16" fmla="*/ 5243330 w 8929549"/>
              <a:gd name="connsiteY16" fmla="*/ 6721475 h 6721475"/>
              <a:gd name="connsiteX17" fmla="*/ 3686219 w 8929549"/>
              <a:gd name="connsiteY17" fmla="*/ 6721475 h 6721475"/>
              <a:gd name="connsiteX18" fmla="*/ 1888573 w 8929549"/>
              <a:gd name="connsiteY18" fmla="*/ 6721475 h 6721475"/>
              <a:gd name="connsiteX19" fmla="*/ 1797646 w 8929549"/>
              <a:gd name="connsiteY19" fmla="*/ 6721475 h 6721475"/>
              <a:gd name="connsiteX20" fmla="*/ 0 w 8929549"/>
              <a:gd name="connsiteY2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929549" h="6721475">
                <a:moveTo>
                  <a:pt x="0" y="0"/>
                </a:moveTo>
                <a:lnTo>
                  <a:pt x="1797646" y="0"/>
                </a:ln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3686219" y="0"/>
                </a:lnTo>
                <a:lnTo>
                  <a:pt x="4664496" y="0"/>
                </a:lnTo>
                <a:lnTo>
                  <a:pt x="4668168" y="0"/>
                </a:lnTo>
                <a:lnTo>
                  <a:pt x="4755423" y="0"/>
                </a:lnTo>
                <a:lnTo>
                  <a:pt x="4759095" y="0"/>
                </a:lnTo>
                <a:lnTo>
                  <a:pt x="6553069" y="0"/>
                </a:lnTo>
                <a:lnTo>
                  <a:pt x="6556741" y="0"/>
                </a:lnTo>
                <a:lnTo>
                  <a:pt x="6556741" y="10386"/>
                </a:lnTo>
                <a:lnTo>
                  <a:pt x="8929549" y="6721475"/>
                </a:lnTo>
                <a:lnTo>
                  <a:pt x="7131903" y="6721475"/>
                </a:lnTo>
                <a:lnTo>
                  <a:pt x="7040976" y="6721475"/>
                </a:lnTo>
                <a:lnTo>
                  <a:pt x="5243330" y="6721475"/>
                </a:lnTo>
                <a:lnTo>
                  <a:pt x="3686219" y="6721475"/>
                </a:lnTo>
                <a:lnTo>
                  <a:pt x="1888573" y="6721475"/>
                </a:lnTo>
                <a:lnTo>
                  <a:pt x="1797646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5B3C1C9-164C-45D0-AE40-099216F858A4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27163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Nº›</a:t>
            </a:fld>
            <a:endParaRPr lang="en-US" sz="816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A091C01-859B-4D5E-A46D-7F6F795C667F}"/>
              </a:ext>
            </a:extLst>
          </p:cNvPr>
          <p:cNvGrpSpPr/>
          <p:nvPr/>
        </p:nvGrpSpPr>
        <p:grpSpPr>
          <a:xfrm>
            <a:off x="10829030" y="6608570"/>
            <a:ext cx="618531" cy="165283"/>
            <a:chOff x="4797041" y="952089"/>
            <a:chExt cx="2281238" cy="609599"/>
          </a:xfrm>
          <a:solidFill>
            <a:schemeClr val="bg1"/>
          </a:solidFill>
        </p:grpSpPr>
        <p:sp>
          <p:nvSpPr>
            <p:cNvPr id="14" name="Freeform 538">
              <a:extLst>
                <a:ext uri="{FF2B5EF4-FFF2-40B4-BE49-F238E27FC236}">
                  <a16:creationId xmlns:a16="http://schemas.microsoft.com/office/drawing/2014/main" id="{1EEA9E48-40F1-4821-856D-CFC901698D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5" name="Freeform 539">
              <a:extLst>
                <a:ext uri="{FF2B5EF4-FFF2-40B4-BE49-F238E27FC236}">
                  <a16:creationId xmlns:a16="http://schemas.microsoft.com/office/drawing/2014/main" id="{1BC14002-6AC7-43A0-B8FC-6FDAA1EF5D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6" name="Freeform 540">
              <a:extLst>
                <a:ext uri="{FF2B5EF4-FFF2-40B4-BE49-F238E27FC236}">
                  <a16:creationId xmlns:a16="http://schemas.microsoft.com/office/drawing/2014/main" id="{CE175A35-FD80-4EAC-B7C8-A2B57FC263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7" name="Freeform 541">
              <a:extLst>
                <a:ext uri="{FF2B5EF4-FFF2-40B4-BE49-F238E27FC236}">
                  <a16:creationId xmlns:a16="http://schemas.microsoft.com/office/drawing/2014/main" id="{6AD157DA-7E3C-4887-BCF8-2390422DB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8" name="Freeform 542">
              <a:extLst>
                <a:ext uri="{FF2B5EF4-FFF2-40B4-BE49-F238E27FC236}">
                  <a16:creationId xmlns:a16="http://schemas.microsoft.com/office/drawing/2014/main" id="{0AC7FD69-DF48-4BE9-830A-FAECD1F40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9" name="Freeform 543">
              <a:extLst>
                <a:ext uri="{FF2B5EF4-FFF2-40B4-BE49-F238E27FC236}">
                  <a16:creationId xmlns:a16="http://schemas.microsoft.com/office/drawing/2014/main" id="{C3320177-C075-41D2-8D4D-084DB9CC0E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20" name="Freeform 544">
              <a:extLst>
                <a:ext uri="{FF2B5EF4-FFF2-40B4-BE49-F238E27FC236}">
                  <a16:creationId xmlns:a16="http://schemas.microsoft.com/office/drawing/2014/main" id="{9965B84C-9390-47C0-9D84-BE84FD66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B2E4C0F-B532-4C36-8D02-51D33DE6C75D}"/>
              </a:ext>
            </a:extLst>
          </p:cNvPr>
          <p:cNvCxnSpPr>
            <a:cxnSpLocks/>
          </p:cNvCxnSpPr>
          <p:nvPr/>
        </p:nvCxnSpPr>
        <p:spPr>
          <a:xfrm>
            <a:off x="11495662" y="6560370"/>
            <a:ext cx="105233" cy="29763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3CCCC03-A808-48EC-A7E1-59D7CD8E471A}"/>
              </a:ext>
            </a:extLst>
          </p:cNvPr>
          <p:cNvCxnSpPr>
            <a:cxnSpLocks/>
          </p:cNvCxnSpPr>
          <p:nvPr/>
        </p:nvCxnSpPr>
        <p:spPr>
          <a:xfrm>
            <a:off x="11495662" y="6560370"/>
            <a:ext cx="3351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2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6" imgH="386" progId="TCLayout.ActiveDocument.1">
                  <p:embed/>
                </p:oleObj>
              </mc:Choice>
              <mc:Fallback>
                <p:oleObj name="Diapositiva de think-cell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53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71" r="19937"/>
          <a:stretch/>
        </p:blipFill>
        <p:spPr>
          <a:xfrm>
            <a:off x="4353939" y="1"/>
            <a:ext cx="7838062" cy="68580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AA7070E-4118-4494-BAD2-8DBA04DB9A84}"/>
              </a:ext>
            </a:extLst>
          </p:cNvPr>
          <p:cNvSpPr>
            <a:spLocks/>
          </p:cNvSpPr>
          <p:nvPr/>
        </p:nvSpPr>
        <p:spPr>
          <a:xfrm>
            <a:off x="0" y="1"/>
            <a:ext cx="6840595" cy="6858000"/>
          </a:xfrm>
          <a:custGeom>
            <a:avLst/>
            <a:gdLst>
              <a:gd name="connsiteX0" fmla="*/ 0 w 6704318"/>
              <a:gd name="connsiteY0" fmla="*/ 0 h 6721475"/>
              <a:gd name="connsiteX1" fmla="*/ 641619 w 6704318"/>
              <a:gd name="connsiteY1" fmla="*/ 0 h 6721475"/>
              <a:gd name="connsiteX2" fmla="*/ 645291 w 6704318"/>
              <a:gd name="connsiteY2" fmla="*/ 0 h 6721475"/>
              <a:gd name="connsiteX3" fmla="*/ 1460988 w 6704318"/>
              <a:gd name="connsiteY3" fmla="*/ 0 h 6721475"/>
              <a:gd name="connsiteX4" fmla="*/ 2439265 w 6704318"/>
              <a:gd name="connsiteY4" fmla="*/ 0 h 6721475"/>
              <a:gd name="connsiteX5" fmla="*/ 2442937 w 6704318"/>
              <a:gd name="connsiteY5" fmla="*/ 0 h 6721475"/>
              <a:gd name="connsiteX6" fmla="*/ 2530192 w 6704318"/>
              <a:gd name="connsiteY6" fmla="*/ 0 h 6721475"/>
              <a:gd name="connsiteX7" fmla="*/ 2533864 w 6704318"/>
              <a:gd name="connsiteY7" fmla="*/ 0 h 6721475"/>
              <a:gd name="connsiteX8" fmla="*/ 4327838 w 6704318"/>
              <a:gd name="connsiteY8" fmla="*/ 0 h 6721475"/>
              <a:gd name="connsiteX9" fmla="*/ 4331510 w 6704318"/>
              <a:gd name="connsiteY9" fmla="*/ 0 h 6721475"/>
              <a:gd name="connsiteX10" fmla="*/ 4331510 w 6704318"/>
              <a:gd name="connsiteY10" fmla="*/ 10386 h 6721475"/>
              <a:gd name="connsiteX11" fmla="*/ 6704318 w 6704318"/>
              <a:gd name="connsiteY11" fmla="*/ 6721475 h 6721475"/>
              <a:gd name="connsiteX12" fmla="*/ 4906672 w 6704318"/>
              <a:gd name="connsiteY12" fmla="*/ 6721475 h 6721475"/>
              <a:gd name="connsiteX13" fmla="*/ 4815745 w 6704318"/>
              <a:gd name="connsiteY13" fmla="*/ 6721475 h 6721475"/>
              <a:gd name="connsiteX14" fmla="*/ 3018099 w 6704318"/>
              <a:gd name="connsiteY14" fmla="*/ 6721475 h 6721475"/>
              <a:gd name="connsiteX15" fmla="*/ 1460988 w 6704318"/>
              <a:gd name="connsiteY15" fmla="*/ 6721475 h 6721475"/>
              <a:gd name="connsiteX16" fmla="*/ 0 w 6704318"/>
              <a:gd name="connsiteY16" fmla="*/ 6721475 h 6721475"/>
              <a:gd name="connsiteX17" fmla="*/ 0 w 6704318"/>
              <a:gd name="connsiteY17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04318" h="6721475">
                <a:moveTo>
                  <a:pt x="0" y="0"/>
                </a:moveTo>
                <a:lnTo>
                  <a:pt x="641619" y="0"/>
                </a:lnTo>
                <a:lnTo>
                  <a:pt x="645291" y="0"/>
                </a:lnTo>
                <a:lnTo>
                  <a:pt x="1460988" y="0"/>
                </a:lnTo>
                <a:lnTo>
                  <a:pt x="2439265" y="0"/>
                </a:lnTo>
                <a:lnTo>
                  <a:pt x="2442937" y="0"/>
                </a:lnTo>
                <a:lnTo>
                  <a:pt x="2530192" y="0"/>
                </a:lnTo>
                <a:lnTo>
                  <a:pt x="2533864" y="0"/>
                </a:lnTo>
                <a:lnTo>
                  <a:pt x="4327838" y="0"/>
                </a:lnTo>
                <a:lnTo>
                  <a:pt x="4331510" y="0"/>
                </a:lnTo>
                <a:lnTo>
                  <a:pt x="4331510" y="10386"/>
                </a:lnTo>
                <a:lnTo>
                  <a:pt x="6704318" y="6721475"/>
                </a:lnTo>
                <a:lnTo>
                  <a:pt x="4906672" y="6721475"/>
                </a:lnTo>
                <a:lnTo>
                  <a:pt x="4815745" y="6721475"/>
                </a:lnTo>
                <a:lnTo>
                  <a:pt x="3018099" y="6721475"/>
                </a:lnTo>
                <a:lnTo>
                  <a:pt x="1460988" y="6721475"/>
                </a:lnTo>
                <a:lnTo>
                  <a:pt x="0" y="672147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9B9250-2837-42B9-9997-131808FF9503}"/>
              </a:ext>
            </a:extLst>
          </p:cNvPr>
          <p:cNvGrpSpPr/>
          <p:nvPr/>
        </p:nvGrpSpPr>
        <p:grpSpPr>
          <a:xfrm>
            <a:off x="832779" y="2903658"/>
            <a:ext cx="3931927" cy="1050685"/>
            <a:chOff x="4797041" y="952089"/>
            <a:chExt cx="2281238" cy="609599"/>
          </a:xfrm>
        </p:grpSpPr>
        <p:sp>
          <p:nvSpPr>
            <p:cNvPr id="26" name="Freeform 538">
              <a:extLst>
                <a:ext uri="{FF2B5EF4-FFF2-40B4-BE49-F238E27FC236}">
                  <a16:creationId xmlns:a16="http://schemas.microsoft.com/office/drawing/2014/main" id="{B867A878-913F-47AE-A151-F55FDEC1EA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27" name="Freeform 539">
              <a:extLst>
                <a:ext uri="{FF2B5EF4-FFF2-40B4-BE49-F238E27FC236}">
                  <a16:creationId xmlns:a16="http://schemas.microsoft.com/office/drawing/2014/main" id="{3DC3CB76-26C6-4631-8C62-ABD7B3B492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28" name="Freeform 540">
              <a:extLst>
                <a:ext uri="{FF2B5EF4-FFF2-40B4-BE49-F238E27FC236}">
                  <a16:creationId xmlns:a16="http://schemas.microsoft.com/office/drawing/2014/main" id="{5675BF14-7787-4D15-A2C4-5109E68B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29" name="Freeform 541">
              <a:extLst>
                <a:ext uri="{FF2B5EF4-FFF2-40B4-BE49-F238E27FC236}">
                  <a16:creationId xmlns:a16="http://schemas.microsoft.com/office/drawing/2014/main" id="{549D4A3B-82C1-4AB5-ABB1-FF74D0CBC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30" name="Freeform 542">
              <a:extLst>
                <a:ext uri="{FF2B5EF4-FFF2-40B4-BE49-F238E27FC236}">
                  <a16:creationId xmlns:a16="http://schemas.microsoft.com/office/drawing/2014/main" id="{F4D1B063-2152-4213-ADC9-D6DC3545B7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31" name="Freeform 543">
              <a:extLst>
                <a:ext uri="{FF2B5EF4-FFF2-40B4-BE49-F238E27FC236}">
                  <a16:creationId xmlns:a16="http://schemas.microsoft.com/office/drawing/2014/main" id="{4C30F9F3-CAD7-45C3-83CF-A1E156B006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32" name="Freeform 544">
              <a:extLst>
                <a:ext uri="{FF2B5EF4-FFF2-40B4-BE49-F238E27FC236}">
                  <a16:creationId xmlns:a16="http://schemas.microsoft.com/office/drawing/2014/main" id="{CAFE6CEB-1DB4-4EAF-9377-14E5BA42C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</p:spTree>
    <p:extLst>
      <p:ext uri="{BB962C8B-B14F-4D97-AF65-F5344CB8AC3E}">
        <p14:creationId xmlns:p14="http://schemas.microsoft.com/office/powerpoint/2010/main" val="2262526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894B01F2-0F20-4749-9B38-DFD772EED8DC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3"/>
            </p:custDataLst>
          </p:nvPr>
        </p:nvSpPr>
        <p:spPr>
          <a:xfrm>
            <a:off x="7159753" y="8932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7A51059-AF5B-44C9-972A-04EB79BED86F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710866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2213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30972" y="6496569"/>
            <a:ext cx="1157995" cy="14131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8173372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2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8173371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A430C8A-E3B1-4D61-BEBE-3203872E20E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7" y="6501670"/>
            <a:ext cx="7275576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9872393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7" y="172213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7" y="915504"/>
            <a:ext cx="11082528" cy="246221"/>
          </a:xfrm>
        </p:spPr>
        <p:txBody>
          <a:bodyPr wrap="square" anchor="b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BECE6BCA-B393-4492-91E9-DA14BD6787F1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3"/>
            </p:custDataLst>
          </p:nvPr>
        </p:nvSpPr>
        <p:spPr>
          <a:xfrm>
            <a:off x="7159753" y="8932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224189E-EF1A-4089-81EC-A18BAC8894F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0124927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50BFF-AC2A-4A78-9C8B-1F586F89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361690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0D9B58F-A7E9-4361-8B4D-4CC0A4886EF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PT" sz="90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575417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B06BA8E4-8FB0-434F-9A79-62A238C37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9721B6-7E6B-4B87-B017-7F84ECCB17B3}" type="datetimeFigureOut">
              <a:rPr lang="es-PE" smtClean="0"/>
              <a:t>23/06/2025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3746E51A-BB81-4DB8-85B0-D5A394750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733A454-EDE0-4D59-BCF0-206D34C45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C3F09-5B68-42B1-9236-9B738C6D7218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6198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430A63-C0EE-4D72-B603-1C00B307C1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CC269FC-B928-4B53-AA18-442FD76A40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543D5BF-1560-4B37-BB86-90593F1755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E280DD-9AF3-416F-8D99-D7F09903C09F}" type="datetimeFigureOut">
              <a:rPr lang="es-PE" smtClean="0"/>
              <a:t>23/06/2025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B3925D6-0B47-4350-9AF0-F43A2CF77D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214AB79-2BCD-4417-9769-BE58ED401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B2832-E811-42CA-8711-4CB5C17A4B08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4697083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" y="0"/>
            <a:ext cx="1219106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8514" y="2271184"/>
            <a:ext cx="5862515" cy="1530768"/>
          </a:xfrm>
        </p:spPr>
        <p:txBody>
          <a:bodyPr anchor="b">
            <a:normAutofit/>
          </a:bodyPr>
          <a:lstStyle>
            <a:lvl1pPr algn="ctr">
              <a:defRPr sz="287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8514" y="4083089"/>
            <a:ext cx="5862515" cy="969014"/>
          </a:xfrm>
        </p:spPr>
        <p:txBody>
          <a:bodyPr>
            <a:normAutofit/>
          </a:bodyPr>
          <a:lstStyle>
            <a:lvl1pPr marL="0" indent="0" algn="ctr">
              <a:buNone/>
              <a:defRPr sz="1800" i="0">
                <a:solidFill>
                  <a:srgbClr val="002D74"/>
                </a:solidFill>
                <a:latin typeface="Flexo" pitchFamily="50" charset="0"/>
              </a:defRPr>
            </a:lvl1pPr>
            <a:lvl2pPr marL="428585" indent="0" algn="ctr">
              <a:buNone/>
              <a:defRPr sz="1875"/>
            </a:lvl2pPr>
            <a:lvl3pPr marL="857169" indent="0" algn="ctr">
              <a:buNone/>
              <a:defRPr sz="1687"/>
            </a:lvl3pPr>
            <a:lvl4pPr marL="1285754" indent="0" algn="ctr">
              <a:buNone/>
              <a:defRPr sz="1500"/>
            </a:lvl4pPr>
            <a:lvl5pPr marL="1714339" indent="0" algn="ctr">
              <a:buNone/>
              <a:defRPr sz="1500"/>
            </a:lvl5pPr>
            <a:lvl6pPr marL="2142923" indent="0" algn="ctr">
              <a:buNone/>
              <a:defRPr sz="1500"/>
            </a:lvl6pPr>
            <a:lvl7pPr marL="2571508" indent="0" algn="ctr">
              <a:buNone/>
              <a:defRPr sz="1500"/>
            </a:lvl7pPr>
            <a:lvl8pPr marL="3000092" indent="0" algn="ctr">
              <a:buNone/>
              <a:defRPr sz="1500"/>
            </a:lvl8pPr>
            <a:lvl9pPr marL="3428677" indent="0" algn="ctr">
              <a:buNone/>
              <a:defRPr sz="1500"/>
            </a:lvl9pPr>
          </a:lstStyle>
          <a:p>
            <a:r>
              <a:rPr lang="es-ES_tradnl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947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88871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7C797C-09E0-4702-B415-DC7ECB3101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02" b="23134"/>
          <a:stretch/>
        </p:blipFill>
        <p:spPr>
          <a:xfrm>
            <a:off x="5565985" y="997226"/>
            <a:ext cx="6626016" cy="4876745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837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>
                <a:solidFill>
                  <a:schemeClr val="accent4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4A0DA11-94E0-4542-8DAA-020EDC8AC6C9}"/>
              </a:ext>
            </a:extLst>
          </p:cNvPr>
          <p:cNvSpPr>
            <a:spLocks/>
          </p:cNvSpPr>
          <p:nvPr/>
        </p:nvSpPr>
        <p:spPr>
          <a:xfrm>
            <a:off x="5810982" y="5521367"/>
            <a:ext cx="2874851" cy="1336633"/>
          </a:xfrm>
          <a:custGeom>
            <a:avLst/>
            <a:gdLst>
              <a:gd name="connsiteX0" fmla="*/ 0 w 2817579"/>
              <a:gd name="connsiteY0" fmla="*/ 0 h 1310024"/>
              <a:gd name="connsiteX1" fmla="*/ 2354400 w 2817579"/>
              <a:gd name="connsiteY1" fmla="*/ 0 h 1310024"/>
              <a:gd name="connsiteX2" fmla="*/ 2358072 w 2817579"/>
              <a:gd name="connsiteY2" fmla="*/ 0 h 1310024"/>
              <a:gd name="connsiteX3" fmla="*/ 2358072 w 2817579"/>
              <a:gd name="connsiteY3" fmla="*/ 10386 h 1310024"/>
              <a:gd name="connsiteX4" fmla="*/ 2817579 w 2817579"/>
              <a:gd name="connsiteY4" fmla="*/ 1310024 h 1310024"/>
              <a:gd name="connsiteX5" fmla="*/ 459508 w 2817579"/>
              <a:gd name="connsiteY5" fmla="*/ 1310024 h 1310024"/>
              <a:gd name="connsiteX6" fmla="*/ 0 w 2817579"/>
              <a:gd name="connsiteY6" fmla="*/ 10386 h 1310024"/>
              <a:gd name="connsiteX7" fmla="*/ 0 w 2817579"/>
              <a:gd name="connsiteY7" fmla="*/ 0 h 1310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17579" h="1310024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2817579" y="1310024"/>
                </a:lnTo>
                <a:lnTo>
                  <a:pt x="459508" y="1310024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837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65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all" baseline="0">
                <a:solidFill>
                  <a:schemeClr val="accent4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562C820-CEB3-4AFD-B479-ED0141E3E705}"/>
              </a:ext>
            </a:extLst>
          </p:cNvPr>
          <p:cNvCxnSpPr>
            <a:cxnSpLocks/>
            <a:stCxn id="117" idx="0"/>
            <a:endCxn id="117" idx="3"/>
          </p:cNvCxnSpPr>
          <p:nvPr/>
        </p:nvCxnSpPr>
        <p:spPr>
          <a:xfrm>
            <a:off x="3853923" y="754087"/>
            <a:ext cx="433423" cy="11824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FAA0926-482B-4801-9155-BC0A4B20820A}"/>
              </a:ext>
            </a:extLst>
          </p:cNvPr>
          <p:cNvCxnSpPr>
            <a:cxnSpLocks/>
            <a:endCxn id="117" idx="3"/>
          </p:cNvCxnSpPr>
          <p:nvPr/>
        </p:nvCxnSpPr>
        <p:spPr>
          <a:xfrm flipH="1">
            <a:off x="4287346" y="1936526"/>
            <a:ext cx="441077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97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5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28543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5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4356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598" y="1"/>
            <a:ext cx="2626402" cy="1376084"/>
          </a:xfrm>
          <a:prstGeom prst="rect">
            <a:avLst/>
          </a:prstGeom>
        </p:spPr>
      </p:pic>
      <p:pic>
        <p:nvPicPr>
          <p:cNvPr id="7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00300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450"/>
          <a:stretch/>
        </p:blipFill>
        <p:spPr>
          <a:xfrm>
            <a:off x="0" y="0"/>
            <a:ext cx="12192001" cy="16758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35167"/>
            <a:ext cx="6402943" cy="962465"/>
          </a:xfrm>
        </p:spPr>
        <p:txBody>
          <a:bodyPr>
            <a:normAutofit/>
          </a:bodyPr>
          <a:lstStyle>
            <a:lvl1pPr>
              <a:defRPr sz="3149" b="1" i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918189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0996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525"/>
          </a:xfrm>
          <a:prstGeom prst="rect">
            <a:avLst/>
          </a:prstGeom>
        </p:spPr>
      </p:pic>
      <p:pic>
        <p:nvPicPr>
          <p:cNvPr id="9" name="Imagen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699"/>
          <a:stretch/>
        </p:blipFill>
        <p:spPr>
          <a:xfrm>
            <a:off x="-2419" y="-5491"/>
            <a:ext cx="12192000" cy="12258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28" y="1"/>
            <a:ext cx="6402943" cy="1059340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84654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ángulo 43">
            <a:extLst>
              <a:ext uri="{FF2B5EF4-FFF2-40B4-BE49-F238E27FC236}">
                <a16:creationId xmlns:a16="http://schemas.microsoft.com/office/drawing/2014/main" id="{88E5CEFC-ECAA-4F09-BEF2-BE4C2AA484B2}"/>
              </a:ext>
            </a:extLst>
          </p:cNvPr>
          <p:cNvSpPr/>
          <p:nvPr userDrawn="1"/>
        </p:nvSpPr>
        <p:spPr>
          <a:xfrm>
            <a:off x="0" y="-6285"/>
            <a:ext cx="12192000" cy="783454"/>
          </a:xfrm>
          <a:prstGeom prst="rect">
            <a:avLst/>
          </a:prstGeom>
          <a:solidFill>
            <a:srgbClr val="002C71"/>
          </a:solidFill>
          <a:ln w="9525">
            <a:solidFill>
              <a:srgbClr val="012D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79" tIns="41139" rIns="82279" bIns="411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0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lexo" panose="02000000000000000000"/>
              <a:ea typeface="+mn-ea"/>
              <a:cs typeface="+mn-cs"/>
            </a:endParaRP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B2492166-063D-4A74-9664-49F108A36458}"/>
              </a:ext>
            </a:extLst>
          </p:cNvPr>
          <p:cNvSpPr/>
          <p:nvPr userDrawn="1"/>
        </p:nvSpPr>
        <p:spPr>
          <a:xfrm>
            <a:off x="5185576" y="6667549"/>
            <a:ext cx="1826050" cy="1553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72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Freeform: Shape 61">
            <a:extLst>
              <a:ext uri="{FF2B5EF4-FFF2-40B4-BE49-F238E27FC236}">
                <a16:creationId xmlns:a16="http://schemas.microsoft.com/office/drawing/2014/main" id="{9C1CDFB8-AB9E-44DF-8DB1-F4BDAA4BDBEC}"/>
              </a:ext>
            </a:extLst>
          </p:cNvPr>
          <p:cNvSpPr>
            <a:spLocks/>
          </p:cNvSpPr>
          <p:nvPr userDrawn="1"/>
        </p:nvSpPr>
        <p:spPr>
          <a:xfrm>
            <a:off x="11444388" y="6367680"/>
            <a:ext cx="484393" cy="366044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rgbClr val="002C71"/>
          </a:solidFill>
          <a:ln w="9525">
            <a:solidFill>
              <a:srgbClr val="012D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79" tIns="41139" rIns="82279" bIns="411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29BC2D7C-7996-4D86-93D6-AC2723BEE127}"/>
              </a:ext>
            </a:extLst>
          </p:cNvPr>
          <p:cNvGrpSpPr/>
          <p:nvPr userDrawn="1"/>
        </p:nvGrpSpPr>
        <p:grpSpPr>
          <a:xfrm>
            <a:off x="10118956" y="-51622"/>
            <a:ext cx="1977682" cy="249505"/>
            <a:chOff x="7940092" y="0"/>
            <a:chExt cx="4416528" cy="1052989"/>
          </a:xfrm>
        </p:grpSpPr>
        <p:sp>
          <p:nvSpPr>
            <p:cNvPr id="8" name="Forma libre: forma 7">
              <a:extLst>
                <a:ext uri="{FF2B5EF4-FFF2-40B4-BE49-F238E27FC236}">
                  <a16:creationId xmlns:a16="http://schemas.microsoft.com/office/drawing/2014/main" id="{C4C344C6-39E0-49DB-BD71-5B1826E7D8B3}"/>
                </a:ext>
              </a:extLst>
            </p:cNvPr>
            <p:cNvSpPr/>
            <p:nvPr userDrawn="1"/>
          </p:nvSpPr>
          <p:spPr>
            <a:xfrm>
              <a:off x="7940092" y="0"/>
              <a:ext cx="1973274" cy="972738"/>
            </a:xfrm>
            <a:custGeom>
              <a:avLst/>
              <a:gdLst>
                <a:gd name="connsiteX0" fmla="*/ 19143 w 1973274"/>
                <a:gd name="connsiteY0" fmla="*/ 0 h 972738"/>
                <a:gd name="connsiteX1" fmla="*/ 1972360 w 1973274"/>
                <a:gd name="connsiteY1" fmla="*/ 0 h 972738"/>
                <a:gd name="connsiteX2" fmla="*/ 1972999 w 1973274"/>
                <a:gd name="connsiteY2" fmla="*/ 3490 h 972738"/>
                <a:gd name="connsiteX3" fmla="*/ 1794950 w 1973274"/>
                <a:gd name="connsiteY3" fmla="*/ 332664 h 972738"/>
                <a:gd name="connsiteX4" fmla="*/ 1268586 w 1973274"/>
                <a:gd name="connsiteY4" fmla="*/ 771875 h 972738"/>
                <a:gd name="connsiteX5" fmla="*/ 862022 w 1973274"/>
                <a:gd name="connsiteY5" fmla="*/ 971185 h 972738"/>
                <a:gd name="connsiteX6" fmla="*/ 563229 w 1973274"/>
                <a:gd name="connsiteY6" fmla="*/ 848596 h 972738"/>
                <a:gd name="connsiteX7" fmla="*/ 266796 w 1973274"/>
                <a:gd name="connsiteY7" fmla="*/ 569162 h 972738"/>
                <a:gd name="connsiteX8" fmla="*/ 12105 w 1973274"/>
                <a:gd name="connsiteY8" fmla="*/ 231308 h 972738"/>
                <a:gd name="connsiteX9" fmla="*/ 8921 w 1973274"/>
                <a:gd name="connsiteY9" fmla="*/ 37041 h 972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3274" h="972738">
                  <a:moveTo>
                    <a:pt x="19143" y="0"/>
                  </a:moveTo>
                  <a:lnTo>
                    <a:pt x="1972360" y="0"/>
                  </a:lnTo>
                  <a:lnTo>
                    <a:pt x="1972999" y="3490"/>
                  </a:lnTo>
                  <a:cubicBezTo>
                    <a:pt x="1978089" y="123107"/>
                    <a:pt x="1912352" y="204599"/>
                    <a:pt x="1794950" y="332664"/>
                  </a:cubicBezTo>
                  <a:cubicBezTo>
                    <a:pt x="1677547" y="460728"/>
                    <a:pt x="1424074" y="665454"/>
                    <a:pt x="1268586" y="771875"/>
                  </a:cubicBezTo>
                  <a:cubicBezTo>
                    <a:pt x="1113098" y="878296"/>
                    <a:pt x="979580" y="958399"/>
                    <a:pt x="862022" y="971185"/>
                  </a:cubicBezTo>
                  <a:cubicBezTo>
                    <a:pt x="744463" y="983971"/>
                    <a:pt x="662434" y="915599"/>
                    <a:pt x="563229" y="848596"/>
                  </a:cubicBezTo>
                  <a:cubicBezTo>
                    <a:pt x="464024" y="781592"/>
                    <a:pt x="358651" y="672044"/>
                    <a:pt x="266796" y="569162"/>
                  </a:cubicBezTo>
                  <a:cubicBezTo>
                    <a:pt x="174942" y="466281"/>
                    <a:pt x="43234" y="352373"/>
                    <a:pt x="12105" y="231308"/>
                  </a:cubicBezTo>
                  <a:cubicBezTo>
                    <a:pt x="-3460" y="170776"/>
                    <a:pt x="-3460" y="103908"/>
                    <a:pt x="8921" y="37041"/>
                  </a:cubicBezTo>
                  <a:close/>
                </a:path>
              </a:pathLst>
            </a:custGeom>
            <a:solidFill>
              <a:srgbClr val="00B2CE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endParaRPr>
            </a:p>
          </p:txBody>
        </p:sp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A03D1210-EECF-4B75-BD05-169FCDC1D1FC}"/>
                </a:ext>
              </a:extLst>
            </p:cNvPr>
            <p:cNvSpPr/>
            <p:nvPr userDrawn="1"/>
          </p:nvSpPr>
          <p:spPr>
            <a:xfrm>
              <a:off x="11330310" y="106410"/>
              <a:ext cx="1026310" cy="946579"/>
            </a:xfrm>
            <a:custGeom>
              <a:avLst/>
              <a:gdLst>
                <a:gd name="connsiteX0" fmla="*/ 305371 w 1442193"/>
                <a:gd name="connsiteY0" fmla="*/ 260653 h 1311522"/>
                <a:gd name="connsiteX1" fmla="*/ 58236 w 1442193"/>
                <a:gd name="connsiteY1" fmla="*/ 507788 h 1311522"/>
                <a:gd name="connsiteX2" fmla="*/ 8809 w 1442193"/>
                <a:gd name="connsiteY2" fmla="*/ 791994 h 1311522"/>
                <a:gd name="connsiteX3" fmla="*/ 194160 w 1442193"/>
                <a:gd name="connsiteY3" fmla="*/ 1039129 h 1311522"/>
                <a:gd name="connsiteX4" fmla="*/ 428938 w 1442193"/>
                <a:gd name="connsiteY4" fmla="*/ 1224480 h 1311522"/>
                <a:gd name="connsiteX5" fmla="*/ 601933 w 1442193"/>
                <a:gd name="connsiteY5" fmla="*/ 1310977 h 1311522"/>
                <a:gd name="connsiteX6" fmla="*/ 923209 w 1442193"/>
                <a:gd name="connsiteY6" fmla="*/ 1187410 h 1311522"/>
                <a:gd name="connsiteX7" fmla="*/ 1306268 w 1442193"/>
                <a:gd name="connsiteY7" fmla="*/ 866134 h 1311522"/>
                <a:gd name="connsiteX8" fmla="*/ 1442193 w 1442193"/>
                <a:gd name="connsiteY8" fmla="*/ 618999 h 1311522"/>
                <a:gd name="connsiteX9" fmla="*/ 1306268 w 1442193"/>
                <a:gd name="connsiteY9" fmla="*/ 334794 h 1311522"/>
                <a:gd name="connsiteX10" fmla="*/ 997349 w 1442193"/>
                <a:gd name="connsiteY10" fmla="*/ 75302 h 1311522"/>
                <a:gd name="connsiteX11" fmla="*/ 688430 w 1442193"/>
                <a:gd name="connsiteY11" fmla="*/ 13518 h 1311522"/>
                <a:gd name="connsiteX12" fmla="*/ 243587 w 1442193"/>
                <a:gd name="connsiteY12" fmla="*/ 297723 h 1311522"/>
                <a:gd name="connsiteX0" fmla="*/ 305371 w 1442193"/>
                <a:gd name="connsiteY0" fmla="*/ 260653 h 1312626"/>
                <a:gd name="connsiteX1" fmla="*/ 58236 w 1442193"/>
                <a:gd name="connsiteY1" fmla="*/ 507788 h 1312626"/>
                <a:gd name="connsiteX2" fmla="*/ 8809 w 1442193"/>
                <a:gd name="connsiteY2" fmla="*/ 791994 h 1312626"/>
                <a:gd name="connsiteX3" fmla="*/ 194160 w 1442193"/>
                <a:gd name="connsiteY3" fmla="*/ 1039129 h 1312626"/>
                <a:gd name="connsiteX4" fmla="*/ 409888 w 1442193"/>
                <a:gd name="connsiteY4" fmla="*/ 1243530 h 1312626"/>
                <a:gd name="connsiteX5" fmla="*/ 601933 w 1442193"/>
                <a:gd name="connsiteY5" fmla="*/ 1310977 h 1312626"/>
                <a:gd name="connsiteX6" fmla="*/ 923209 w 1442193"/>
                <a:gd name="connsiteY6" fmla="*/ 1187410 h 1312626"/>
                <a:gd name="connsiteX7" fmla="*/ 1306268 w 1442193"/>
                <a:gd name="connsiteY7" fmla="*/ 866134 h 1312626"/>
                <a:gd name="connsiteX8" fmla="*/ 1442193 w 1442193"/>
                <a:gd name="connsiteY8" fmla="*/ 618999 h 1312626"/>
                <a:gd name="connsiteX9" fmla="*/ 1306268 w 1442193"/>
                <a:gd name="connsiteY9" fmla="*/ 334794 h 1312626"/>
                <a:gd name="connsiteX10" fmla="*/ 997349 w 1442193"/>
                <a:gd name="connsiteY10" fmla="*/ 75302 h 1312626"/>
                <a:gd name="connsiteX11" fmla="*/ 688430 w 1442193"/>
                <a:gd name="connsiteY11" fmla="*/ 13518 h 1312626"/>
                <a:gd name="connsiteX12" fmla="*/ 243587 w 1442193"/>
                <a:gd name="connsiteY12" fmla="*/ 297723 h 1312626"/>
                <a:gd name="connsiteX0" fmla="*/ 305371 w 1442193"/>
                <a:gd name="connsiteY0" fmla="*/ 260821 h 1312794"/>
                <a:gd name="connsiteX1" fmla="*/ 58236 w 1442193"/>
                <a:gd name="connsiteY1" fmla="*/ 507956 h 1312794"/>
                <a:gd name="connsiteX2" fmla="*/ 8809 w 1442193"/>
                <a:gd name="connsiteY2" fmla="*/ 792162 h 1312794"/>
                <a:gd name="connsiteX3" fmla="*/ 194160 w 1442193"/>
                <a:gd name="connsiteY3" fmla="*/ 1039297 h 1312794"/>
                <a:gd name="connsiteX4" fmla="*/ 409888 w 1442193"/>
                <a:gd name="connsiteY4" fmla="*/ 1243698 h 1312794"/>
                <a:gd name="connsiteX5" fmla="*/ 601933 w 1442193"/>
                <a:gd name="connsiteY5" fmla="*/ 1311145 h 1312794"/>
                <a:gd name="connsiteX6" fmla="*/ 923209 w 1442193"/>
                <a:gd name="connsiteY6" fmla="*/ 1187578 h 1312794"/>
                <a:gd name="connsiteX7" fmla="*/ 1306268 w 1442193"/>
                <a:gd name="connsiteY7" fmla="*/ 866302 h 1312794"/>
                <a:gd name="connsiteX8" fmla="*/ 1442193 w 1442193"/>
                <a:gd name="connsiteY8" fmla="*/ 619167 h 1312794"/>
                <a:gd name="connsiteX9" fmla="*/ 1306268 w 1442193"/>
                <a:gd name="connsiteY9" fmla="*/ 334962 h 1312794"/>
                <a:gd name="connsiteX10" fmla="*/ 997349 w 1442193"/>
                <a:gd name="connsiteY10" fmla="*/ 75470 h 1312794"/>
                <a:gd name="connsiteX11" fmla="*/ 688430 w 1442193"/>
                <a:gd name="connsiteY11" fmla="*/ 13686 h 1312794"/>
                <a:gd name="connsiteX12" fmla="*/ 260256 w 1442193"/>
                <a:gd name="connsiteY12" fmla="*/ 300272 h 1312794"/>
                <a:gd name="connsiteX0" fmla="*/ 305371 w 1442193"/>
                <a:gd name="connsiteY0" fmla="*/ 260654 h 1312627"/>
                <a:gd name="connsiteX1" fmla="*/ 58236 w 1442193"/>
                <a:gd name="connsiteY1" fmla="*/ 507789 h 1312627"/>
                <a:gd name="connsiteX2" fmla="*/ 8809 w 1442193"/>
                <a:gd name="connsiteY2" fmla="*/ 791995 h 1312627"/>
                <a:gd name="connsiteX3" fmla="*/ 194160 w 1442193"/>
                <a:gd name="connsiteY3" fmla="*/ 1039130 h 1312627"/>
                <a:gd name="connsiteX4" fmla="*/ 409888 w 1442193"/>
                <a:gd name="connsiteY4" fmla="*/ 1243531 h 1312627"/>
                <a:gd name="connsiteX5" fmla="*/ 601933 w 1442193"/>
                <a:gd name="connsiteY5" fmla="*/ 1310978 h 1312627"/>
                <a:gd name="connsiteX6" fmla="*/ 923209 w 1442193"/>
                <a:gd name="connsiteY6" fmla="*/ 1187411 h 1312627"/>
                <a:gd name="connsiteX7" fmla="*/ 1306268 w 1442193"/>
                <a:gd name="connsiteY7" fmla="*/ 866135 h 1312627"/>
                <a:gd name="connsiteX8" fmla="*/ 1442193 w 1442193"/>
                <a:gd name="connsiteY8" fmla="*/ 619000 h 1312627"/>
                <a:gd name="connsiteX9" fmla="*/ 1306268 w 1442193"/>
                <a:gd name="connsiteY9" fmla="*/ 334795 h 1312627"/>
                <a:gd name="connsiteX10" fmla="*/ 997349 w 1442193"/>
                <a:gd name="connsiteY10" fmla="*/ 75303 h 1312627"/>
                <a:gd name="connsiteX11" fmla="*/ 688430 w 1442193"/>
                <a:gd name="connsiteY11" fmla="*/ 13519 h 1312627"/>
                <a:gd name="connsiteX12" fmla="*/ 253112 w 1442193"/>
                <a:gd name="connsiteY12" fmla="*/ 297723 h 1312627"/>
                <a:gd name="connsiteX0" fmla="*/ 305371 w 1442193"/>
                <a:gd name="connsiteY0" fmla="*/ 257812 h 1309785"/>
                <a:gd name="connsiteX1" fmla="*/ 58236 w 1442193"/>
                <a:gd name="connsiteY1" fmla="*/ 504947 h 1309785"/>
                <a:gd name="connsiteX2" fmla="*/ 8809 w 1442193"/>
                <a:gd name="connsiteY2" fmla="*/ 789153 h 1309785"/>
                <a:gd name="connsiteX3" fmla="*/ 194160 w 1442193"/>
                <a:gd name="connsiteY3" fmla="*/ 1036288 h 1309785"/>
                <a:gd name="connsiteX4" fmla="*/ 409888 w 1442193"/>
                <a:gd name="connsiteY4" fmla="*/ 1240689 h 1309785"/>
                <a:gd name="connsiteX5" fmla="*/ 601933 w 1442193"/>
                <a:gd name="connsiteY5" fmla="*/ 1308136 h 1309785"/>
                <a:gd name="connsiteX6" fmla="*/ 923209 w 1442193"/>
                <a:gd name="connsiteY6" fmla="*/ 1184569 h 1309785"/>
                <a:gd name="connsiteX7" fmla="*/ 1306268 w 1442193"/>
                <a:gd name="connsiteY7" fmla="*/ 863293 h 1309785"/>
                <a:gd name="connsiteX8" fmla="*/ 1442193 w 1442193"/>
                <a:gd name="connsiteY8" fmla="*/ 616158 h 1309785"/>
                <a:gd name="connsiteX9" fmla="*/ 1306268 w 1442193"/>
                <a:gd name="connsiteY9" fmla="*/ 331953 h 1309785"/>
                <a:gd name="connsiteX10" fmla="*/ 997349 w 1442193"/>
                <a:gd name="connsiteY10" fmla="*/ 72461 h 1309785"/>
                <a:gd name="connsiteX11" fmla="*/ 688430 w 1442193"/>
                <a:gd name="connsiteY11" fmla="*/ 10677 h 1309785"/>
                <a:gd name="connsiteX12" fmla="*/ 295974 w 1442193"/>
                <a:gd name="connsiteY12" fmla="*/ 254400 h 1309785"/>
                <a:gd name="connsiteX0" fmla="*/ 305371 w 1442193"/>
                <a:gd name="connsiteY0" fmla="*/ 257812 h 1309785"/>
                <a:gd name="connsiteX1" fmla="*/ 58236 w 1442193"/>
                <a:gd name="connsiteY1" fmla="*/ 504947 h 1309785"/>
                <a:gd name="connsiteX2" fmla="*/ 8809 w 1442193"/>
                <a:gd name="connsiteY2" fmla="*/ 789153 h 1309785"/>
                <a:gd name="connsiteX3" fmla="*/ 194160 w 1442193"/>
                <a:gd name="connsiteY3" fmla="*/ 1036288 h 1309785"/>
                <a:gd name="connsiteX4" fmla="*/ 409888 w 1442193"/>
                <a:gd name="connsiteY4" fmla="*/ 1240689 h 1309785"/>
                <a:gd name="connsiteX5" fmla="*/ 601933 w 1442193"/>
                <a:gd name="connsiteY5" fmla="*/ 1308136 h 1309785"/>
                <a:gd name="connsiteX6" fmla="*/ 923209 w 1442193"/>
                <a:gd name="connsiteY6" fmla="*/ 1184569 h 1309785"/>
                <a:gd name="connsiteX7" fmla="*/ 1306268 w 1442193"/>
                <a:gd name="connsiteY7" fmla="*/ 863293 h 1309785"/>
                <a:gd name="connsiteX8" fmla="*/ 1442193 w 1442193"/>
                <a:gd name="connsiteY8" fmla="*/ 616158 h 1309785"/>
                <a:gd name="connsiteX9" fmla="*/ 1306268 w 1442193"/>
                <a:gd name="connsiteY9" fmla="*/ 331953 h 1309785"/>
                <a:gd name="connsiteX10" fmla="*/ 997349 w 1442193"/>
                <a:gd name="connsiteY10" fmla="*/ 72461 h 1309785"/>
                <a:gd name="connsiteX11" fmla="*/ 688430 w 1442193"/>
                <a:gd name="connsiteY11" fmla="*/ 10677 h 1309785"/>
                <a:gd name="connsiteX12" fmla="*/ 307881 w 1442193"/>
                <a:gd name="connsiteY12" fmla="*/ 254400 h 1309785"/>
                <a:gd name="connsiteX0" fmla="*/ 305371 w 1442193"/>
                <a:gd name="connsiteY0" fmla="*/ 258143 h 1310116"/>
                <a:gd name="connsiteX1" fmla="*/ 58236 w 1442193"/>
                <a:gd name="connsiteY1" fmla="*/ 505278 h 1310116"/>
                <a:gd name="connsiteX2" fmla="*/ 8809 w 1442193"/>
                <a:gd name="connsiteY2" fmla="*/ 789484 h 1310116"/>
                <a:gd name="connsiteX3" fmla="*/ 194160 w 1442193"/>
                <a:gd name="connsiteY3" fmla="*/ 1036619 h 1310116"/>
                <a:gd name="connsiteX4" fmla="*/ 409888 w 1442193"/>
                <a:gd name="connsiteY4" fmla="*/ 1241020 h 1310116"/>
                <a:gd name="connsiteX5" fmla="*/ 601933 w 1442193"/>
                <a:gd name="connsiteY5" fmla="*/ 1308467 h 1310116"/>
                <a:gd name="connsiteX6" fmla="*/ 923209 w 1442193"/>
                <a:gd name="connsiteY6" fmla="*/ 1184900 h 1310116"/>
                <a:gd name="connsiteX7" fmla="*/ 1306268 w 1442193"/>
                <a:gd name="connsiteY7" fmla="*/ 863624 h 1310116"/>
                <a:gd name="connsiteX8" fmla="*/ 1442193 w 1442193"/>
                <a:gd name="connsiteY8" fmla="*/ 616489 h 1310116"/>
                <a:gd name="connsiteX9" fmla="*/ 1306268 w 1442193"/>
                <a:gd name="connsiteY9" fmla="*/ 332284 h 1310116"/>
                <a:gd name="connsiteX10" fmla="*/ 997349 w 1442193"/>
                <a:gd name="connsiteY10" fmla="*/ 72792 h 1310116"/>
                <a:gd name="connsiteX11" fmla="*/ 688430 w 1442193"/>
                <a:gd name="connsiteY11" fmla="*/ 11008 h 1310116"/>
                <a:gd name="connsiteX12" fmla="*/ 298356 w 1442193"/>
                <a:gd name="connsiteY12" fmla="*/ 259493 h 1310116"/>
                <a:gd name="connsiteX0" fmla="*/ 305371 w 1442193"/>
                <a:gd name="connsiteY0" fmla="*/ 258476 h 1310449"/>
                <a:gd name="connsiteX1" fmla="*/ 58236 w 1442193"/>
                <a:gd name="connsiteY1" fmla="*/ 505611 h 1310449"/>
                <a:gd name="connsiteX2" fmla="*/ 8809 w 1442193"/>
                <a:gd name="connsiteY2" fmla="*/ 789817 h 1310449"/>
                <a:gd name="connsiteX3" fmla="*/ 194160 w 1442193"/>
                <a:gd name="connsiteY3" fmla="*/ 1036952 h 1310449"/>
                <a:gd name="connsiteX4" fmla="*/ 409888 w 1442193"/>
                <a:gd name="connsiteY4" fmla="*/ 1241353 h 1310449"/>
                <a:gd name="connsiteX5" fmla="*/ 601933 w 1442193"/>
                <a:gd name="connsiteY5" fmla="*/ 1308800 h 1310449"/>
                <a:gd name="connsiteX6" fmla="*/ 923209 w 1442193"/>
                <a:gd name="connsiteY6" fmla="*/ 1185233 h 1310449"/>
                <a:gd name="connsiteX7" fmla="*/ 1306268 w 1442193"/>
                <a:gd name="connsiteY7" fmla="*/ 863957 h 1310449"/>
                <a:gd name="connsiteX8" fmla="*/ 1442193 w 1442193"/>
                <a:gd name="connsiteY8" fmla="*/ 616822 h 1310449"/>
                <a:gd name="connsiteX9" fmla="*/ 1306268 w 1442193"/>
                <a:gd name="connsiteY9" fmla="*/ 332617 h 1310449"/>
                <a:gd name="connsiteX10" fmla="*/ 997349 w 1442193"/>
                <a:gd name="connsiteY10" fmla="*/ 73125 h 1310449"/>
                <a:gd name="connsiteX11" fmla="*/ 688430 w 1442193"/>
                <a:gd name="connsiteY11" fmla="*/ 11341 h 1310449"/>
                <a:gd name="connsiteX12" fmla="*/ 295975 w 1442193"/>
                <a:gd name="connsiteY12" fmla="*/ 264589 h 1310449"/>
                <a:gd name="connsiteX0" fmla="*/ 305371 w 1442193"/>
                <a:gd name="connsiteY0" fmla="*/ 258476 h 1332161"/>
                <a:gd name="connsiteX1" fmla="*/ 58236 w 1442193"/>
                <a:gd name="connsiteY1" fmla="*/ 505611 h 1332161"/>
                <a:gd name="connsiteX2" fmla="*/ 8809 w 1442193"/>
                <a:gd name="connsiteY2" fmla="*/ 789817 h 1332161"/>
                <a:gd name="connsiteX3" fmla="*/ 194160 w 1442193"/>
                <a:gd name="connsiteY3" fmla="*/ 1036952 h 1332161"/>
                <a:gd name="connsiteX4" fmla="*/ 409888 w 1442193"/>
                <a:gd name="connsiteY4" fmla="*/ 1241353 h 1332161"/>
                <a:gd name="connsiteX5" fmla="*/ 627333 w 1442193"/>
                <a:gd name="connsiteY5" fmla="*/ 1331025 h 1332161"/>
                <a:gd name="connsiteX6" fmla="*/ 923209 w 1442193"/>
                <a:gd name="connsiteY6" fmla="*/ 1185233 h 1332161"/>
                <a:gd name="connsiteX7" fmla="*/ 1306268 w 1442193"/>
                <a:gd name="connsiteY7" fmla="*/ 863957 h 1332161"/>
                <a:gd name="connsiteX8" fmla="*/ 1442193 w 1442193"/>
                <a:gd name="connsiteY8" fmla="*/ 616822 h 1332161"/>
                <a:gd name="connsiteX9" fmla="*/ 1306268 w 1442193"/>
                <a:gd name="connsiteY9" fmla="*/ 332617 h 1332161"/>
                <a:gd name="connsiteX10" fmla="*/ 997349 w 1442193"/>
                <a:gd name="connsiteY10" fmla="*/ 73125 h 1332161"/>
                <a:gd name="connsiteX11" fmla="*/ 688430 w 1442193"/>
                <a:gd name="connsiteY11" fmla="*/ 11341 h 1332161"/>
                <a:gd name="connsiteX12" fmla="*/ 295975 w 1442193"/>
                <a:gd name="connsiteY12" fmla="*/ 264589 h 1332161"/>
                <a:gd name="connsiteX0" fmla="*/ 305371 w 1435843"/>
                <a:gd name="connsiteY0" fmla="*/ 258476 h 1332161"/>
                <a:gd name="connsiteX1" fmla="*/ 58236 w 1435843"/>
                <a:gd name="connsiteY1" fmla="*/ 505611 h 1332161"/>
                <a:gd name="connsiteX2" fmla="*/ 8809 w 1435843"/>
                <a:gd name="connsiteY2" fmla="*/ 789817 h 1332161"/>
                <a:gd name="connsiteX3" fmla="*/ 194160 w 1435843"/>
                <a:gd name="connsiteY3" fmla="*/ 1036952 h 1332161"/>
                <a:gd name="connsiteX4" fmla="*/ 409888 w 1435843"/>
                <a:gd name="connsiteY4" fmla="*/ 1241353 h 1332161"/>
                <a:gd name="connsiteX5" fmla="*/ 627333 w 1435843"/>
                <a:gd name="connsiteY5" fmla="*/ 1331025 h 1332161"/>
                <a:gd name="connsiteX6" fmla="*/ 923209 w 1435843"/>
                <a:gd name="connsiteY6" fmla="*/ 1185233 h 1332161"/>
                <a:gd name="connsiteX7" fmla="*/ 1306268 w 1435843"/>
                <a:gd name="connsiteY7" fmla="*/ 863957 h 1332161"/>
                <a:gd name="connsiteX8" fmla="*/ 1435843 w 1435843"/>
                <a:gd name="connsiteY8" fmla="*/ 623172 h 1332161"/>
                <a:gd name="connsiteX9" fmla="*/ 1306268 w 1435843"/>
                <a:gd name="connsiteY9" fmla="*/ 332617 h 1332161"/>
                <a:gd name="connsiteX10" fmla="*/ 997349 w 1435843"/>
                <a:gd name="connsiteY10" fmla="*/ 73125 h 1332161"/>
                <a:gd name="connsiteX11" fmla="*/ 688430 w 1435843"/>
                <a:gd name="connsiteY11" fmla="*/ 11341 h 1332161"/>
                <a:gd name="connsiteX12" fmla="*/ 295975 w 1435843"/>
                <a:gd name="connsiteY12" fmla="*/ 264589 h 1332161"/>
                <a:gd name="connsiteX0" fmla="*/ 305371 w 1435847"/>
                <a:gd name="connsiteY0" fmla="*/ 258622 h 1332307"/>
                <a:gd name="connsiteX1" fmla="*/ 58236 w 1435847"/>
                <a:gd name="connsiteY1" fmla="*/ 505757 h 1332307"/>
                <a:gd name="connsiteX2" fmla="*/ 8809 w 1435847"/>
                <a:gd name="connsiteY2" fmla="*/ 789963 h 1332307"/>
                <a:gd name="connsiteX3" fmla="*/ 194160 w 1435847"/>
                <a:gd name="connsiteY3" fmla="*/ 1037098 h 1332307"/>
                <a:gd name="connsiteX4" fmla="*/ 409888 w 1435847"/>
                <a:gd name="connsiteY4" fmla="*/ 1241499 h 1332307"/>
                <a:gd name="connsiteX5" fmla="*/ 627333 w 1435847"/>
                <a:gd name="connsiteY5" fmla="*/ 1331171 h 1332307"/>
                <a:gd name="connsiteX6" fmla="*/ 923209 w 1435847"/>
                <a:gd name="connsiteY6" fmla="*/ 1185379 h 1332307"/>
                <a:gd name="connsiteX7" fmla="*/ 1306268 w 1435847"/>
                <a:gd name="connsiteY7" fmla="*/ 864103 h 1332307"/>
                <a:gd name="connsiteX8" fmla="*/ 1435843 w 1435847"/>
                <a:gd name="connsiteY8" fmla="*/ 623318 h 1332307"/>
                <a:gd name="connsiteX9" fmla="*/ 1303093 w 1435847"/>
                <a:gd name="connsiteY9" fmla="*/ 339113 h 1332307"/>
                <a:gd name="connsiteX10" fmla="*/ 997349 w 1435847"/>
                <a:gd name="connsiteY10" fmla="*/ 73271 h 1332307"/>
                <a:gd name="connsiteX11" fmla="*/ 688430 w 1435847"/>
                <a:gd name="connsiteY11" fmla="*/ 11487 h 1332307"/>
                <a:gd name="connsiteX12" fmla="*/ 295975 w 1435847"/>
                <a:gd name="connsiteY12" fmla="*/ 264735 h 1332307"/>
                <a:gd name="connsiteX0" fmla="*/ 305371 w 1435847"/>
                <a:gd name="connsiteY0" fmla="*/ 257598 h 1331283"/>
                <a:gd name="connsiteX1" fmla="*/ 58236 w 1435847"/>
                <a:gd name="connsiteY1" fmla="*/ 504733 h 1331283"/>
                <a:gd name="connsiteX2" fmla="*/ 8809 w 1435847"/>
                <a:gd name="connsiteY2" fmla="*/ 788939 h 1331283"/>
                <a:gd name="connsiteX3" fmla="*/ 194160 w 1435847"/>
                <a:gd name="connsiteY3" fmla="*/ 1036074 h 1331283"/>
                <a:gd name="connsiteX4" fmla="*/ 409888 w 1435847"/>
                <a:gd name="connsiteY4" fmla="*/ 1240475 h 1331283"/>
                <a:gd name="connsiteX5" fmla="*/ 627333 w 1435847"/>
                <a:gd name="connsiteY5" fmla="*/ 1330147 h 1331283"/>
                <a:gd name="connsiteX6" fmla="*/ 923209 w 1435847"/>
                <a:gd name="connsiteY6" fmla="*/ 1184355 h 1331283"/>
                <a:gd name="connsiteX7" fmla="*/ 1306268 w 1435847"/>
                <a:gd name="connsiteY7" fmla="*/ 863079 h 1331283"/>
                <a:gd name="connsiteX8" fmla="*/ 1435843 w 1435847"/>
                <a:gd name="connsiteY8" fmla="*/ 622294 h 1331283"/>
                <a:gd name="connsiteX9" fmla="*/ 1303093 w 1435847"/>
                <a:gd name="connsiteY9" fmla="*/ 338089 h 1331283"/>
                <a:gd name="connsiteX10" fmla="*/ 1016399 w 1435847"/>
                <a:gd name="connsiteY10" fmla="*/ 77010 h 1331283"/>
                <a:gd name="connsiteX11" fmla="*/ 688430 w 1435847"/>
                <a:gd name="connsiteY11" fmla="*/ 10463 h 1331283"/>
                <a:gd name="connsiteX12" fmla="*/ 295975 w 1435847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16399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36043" h="1331283">
                  <a:moveTo>
                    <a:pt x="305371" y="257598"/>
                  </a:moveTo>
                  <a:cubicBezTo>
                    <a:pt x="206517" y="336887"/>
                    <a:pt x="107663" y="416176"/>
                    <a:pt x="58236" y="504733"/>
                  </a:cubicBezTo>
                  <a:cubicBezTo>
                    <a:pt x="8809" y="593290"/>
                    <a:pt x="-13845" y="700382"/>
                    <a:pt x="8809" y="788939"/>
                  </a:cubicBezTo>
                  <a:cubicBezTo>
                    <a:pt x="31463" y="877496"/>
                    <a:pt x="127313" y="960818"/>
                    <a:pt x="194160" y="1036074"/>
                  </a:cubicBezTo>
                  <a:cubicBezTo>
                    <a:pt x="261007" y="1111330"/>
                    <a:pt x="337692" y="1191463"/>
                    <a:pt x="409888" y="1240475"/>
                  </a:cubicBezTo>
                  <a:cubicBezTo>
                    <a:pt x="482084" y="1289487"/>
                    <a:pt x="541780" y="1339500"/>
                    <a:pt x="627333" y="1330147"/>
                  </a:cubicBezTo>
                  <a:cubicBezTo>
                    <a:pt x="712886" y="1320794"/>
                    <a:pt x="810053" y="1262200"/>
                    <a:pt x="923209" y="1184355"/>
                  </a:cubicBezTo>
                  <a:cubicBezTo>
                    <a:pt x="1036365" y="1106510"/>
                    <a:pt x="1220829" y="956756"/>
                    <a:pt x="1306268" y="863079"/>
                  </a:cubicBezTo>
                  <a:cubicBezTo>
                    <a:pt x="1391707" y="769402"/>
                    <a:pt x="1439547" y="709792"/>
                    <a:pt x="1435843" y="622294"/>
                  </a:cubicBezTo>
                  <a:cubicBezTo>
                    <a:pt x="1432139" y="534796"/>
                    <a:pt x="1379351" y="452783"/>
                    <a:pt x="1284043" y="338089"/>
                  </a:cubicBezTo>
                  <a:cubicBezTo>
                    <a:pt x="1188735" y="223395"/>
                    <a:pt x="1106143" y="131614"/>
                    <a:pt x="1006874" y="77010"/>
                  </a:cubicBezTo>
                  <a:cubicBezTo>
                    <a:pt x="907605" y="22406"/>
                    <a:pt x="806913" y="-20654"/>
                    <a:pt x="688430" y="10463"/>
                  </a:cubicBezTo>
                  <a:cubicBezTo>
                    <a:pt x="569947" y="41580"/>
                    <a:pt x="455583" y="140143"/>
                    <a:pt x="295975" y="263711"/>
                  </a:cubicBezTo>
                </a:path>
              </a:pathLst>
            </a:custGeom>
            <a:solidFill>
              <a:srgbClr val="E2007B"/>
            </a:solidFill>
            <a:ln w="57150">
              <a:solidFill>
                <a:srgbClr val="E200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endParaRPr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FBFCF588-3995-4E60-A5A6-CF7A81942649}"/>
                </a:ext>
              </a:extLst>
            </p:cNvPr>
            <p:cNvSpPr/>
            <p:nvPr userDrawn="1"/>
          </p:nvSpPr>
          <p:spPr>
            <a:xfrm>
              <a:off x="10522123" y="365984"/>
              <a:ext cx="684185" cy="631032"/>
            </a:xfrm>
            <a:custGeom>
              <a:avLst/>
              <a:gdLst>
                <a:gd name="connsiteX0" fmla="*/ 305371 w 1442193"/>
                <a:gd name="connsiteY0" fmla="*/ 260653 h 1311522"/>
                <a:gd name="connsiteX1" fmla="*/ 58236 w 1442193"/>
                <a:gd name="connsiteY1" fmla="*/ 507788 h 1311522"/>
                <a:gd name="connsiteX2" fmla="*/ 8809 w 1442193"/>
                <a:gd name="connsiteY2" fmla="*/ 791994 h 1311522"/>
                <a:gd name="connsiteX3" fmla="*/ 194160 w 1442193"/>
                <a:gd name="connsiteY3" fmla="*/ 1039129 h 1311522"/>
                <a:gd name="connsiteX4" fmla="*/ 428938 w 1442193"/>
                <a:gd name="connsiteY4" fmla="*/ 1224480 h 1311522"/>
                <a:gd name="connsiteX5" fmla="*/ 601933 w 1442193"/>
                <a:gd name="connsiteY5" fmla="*/ 1310977 h 1311522"/>
                <a:gd name="connsiteX6" fmla="*/ 923209 w 1442193"/>
                <a:gd name="connsiteY6" fmla="*/ 1187410 h 1311522"/>
                <a:gd name="connsiteX7" fmla="*/ 1306268 w 1442193"/>
                <a:gd name="connsiteY7" fmla="*/ 866134 h 1311522"/>
                <a:gd name="connsiteX8" fmla="*/ 1442193 w 1442193"/>
                <a:gd name="connsiteY8" fmla="*/ 618999 h 1311522"/>
                <a:gd name="connsiteX9" fmla="*/ 1306268 w 1442193"/>
                <a:gd name="connsiteY9" fmla="*/ 334794 h 1311522"/>
                <a:gd name="connsiteX10" fmla="*/ 997349 w 1442193"/>
                <a:gd name="connsiteY10" fmla="*/ 75302 h 1311522"/>
                <a:gd name="connsiteX11" fmla="*/ 688430 w 1442193"/>
                <a:gd name="connsiteY11" fmla="*/ 13518 h 1311522"/>
                <a:gd name="connsiteX12" fmla="*/ 243587 w 1442193"/>
                <a:gd name="connsiteY12" fmla="*/ 297723 h 1311522"/>
                <a:gd name="connsiteX0" fmla="*/ 305371 w 1442193"/>
                <a:gd name="connsiteY0" fmla="*/ 260653 h 1312626"/>
                <a:gd name="connsiteX1" fmla="*/ 58236 w 1442193"/>
                <a:gd name="connsiteY1" fmla="*/ 507788 h 1312626"/>
                <a:gd name="connsiteX2" fmla="*/ 8809 w 1442193"/>
                <a:gd name="connsiteY2" fmla="*/ 791994 h 1312626"/>
                <a:gd name="connsiteX3" fmla="*/ 194160 w 1442193"/>
                <a:gd name="connsiteY3" fmla="*/ 1039129 h 1312626"/>
                <a:gd name="connsiteX4" fmla="*/ 409888 w 1442193"/>
                <a:gd name="connsiteY4" fmla="*/ 1243530 h 1312626"/>
                <a:gd name="connsiteX5" fmla="*/ 601933 w 1442193"/>
                <a:gd name="connsiteY5" fmla="*/ 1310977 h 1312626"/>
                <a:gd name="connsiteX6" fmla="*/ 923209 w 1442193"/>
                <a:gd name="connsiteY6" fmla="*/ 1187410 h 1312626"/>
                <a:gd name="connsiteX7" fmla="*/ 1306268 w 1442193"/>
                <a:gd name="connsiteY7" fmla="*/ 866134 h 1312626"/>
                <a:gd name="connsiteX8" fmla="*/ 1442193 w 1442193"/>
                <a:gd name="connsiteY8" fmla="*/ 618999 h 1312626"/>
                <a:gd name="connsiteX9" fmla="*/ 1306268 w 1442193"/>
                <a:gd name="connsiteY9" fmla="*/ 334794 h 1312626"/>
                <a:gd name="connsiteX10" fmla="*/ 997349 w 1442193"/>
                <a:gd name="connsiteY10" fmla="*/ 75302 h 1312626"/>
                <a:gd name="connsiteX11" fmla="*/ 688430 w 1442193"/>
                <a:gd name="connsiteY11" fmla="*/ 13518 h 1312626"/>
                <a:gd name="connsiteX12" fmla="*/ 243587 w 1442193"/>
                <a:gd name="connsiteY12" fmla="*/ 297723 h 1312626"/>
                <a:gd name="connsiteX0" fmla="*/ 305371 w 1442193"/>
                <a:gd name="connsiteY0" fmla="*/ 260821 h 1312794"/>
                <a:gd name="connsiteX1" fmla="*/ 58236 w 1442193"/>
                <a:gd name="connsiteY1" fmla="*/ 507956 h 1312794"/>
                <a:gd name="connsiteX2" fmla="*/ 8809 w 1442193"/>
                <a:gd name="connsiteY2" fmla="*/ 792162 h 1312794"/>
                <a:gd name="connsiteX3" fmla="*/ 194160 w 1442193"/>
                <a:gd name="connsiteY3" fmla="*/ 1039297 h 1312794"/>
                <a:gd name="connsiteX4" fmla="*/ 409888 w 1442193"/>
                <a:gd name="connsiteY4" fmla="*/ 1243698 h 1312794"/>
                <a:gd name="connsiteX5" fmla="*/ 601933 w 1442193"/>
                <a:gd name="connsiteY5" fmla="*/ 1311145 h 1312794"/>
                <a:gd name="connsiteX6" fmla="*/ 923209 w 1442193"/>
                <a:gd name="connsiteY6" fmla="*/ 1187578 h 1312794"/>
                <a:gd name="connsiteX7" fmla="*/ 1306268 w 1442193"/>
                <a:gd name="connsiteY7" fmla="*/ 866302 h 1312794"/>
                <a:gd name="connsiteX8" fmla="*/ 1442193 w 1442193"/>
                <a:gd name="connsiteY8" fmla="*/ 619167 h 1312794"/>
                <a:gd name="connsiteX9" fmla="*/ 1306268 w 1442193"/>
                <a:gd name="connsiteY9" fmla="*/ 334962 h 1312794"/>
                <a:gd name="connsiteX10" fmla="*/ 997349 w 1442193"/>
                <a:gd name="connsiteY10" fmla="*/ 75470 h 1312794"/>
                <a:gd name="connsiteX11" fmla="*/ 688430 w 1442193"/>
                <a:gd name="connsiteY11" fmla="*/ 13686 h 1312794"/>
                <a:gd name="connsiteX12" fmla="*/ 260256 w 1442193"/>
                <a:gd name="connsiteY12" fmla="*/ 300272 h 1312794"/>
                <a:gd name="connsiteX0" fmla="*/ 305371 w 1442193"/>
                <a:gd name="connsiteY0" fmla="*/ 260654 h 1312627"/>
                <a:gd name="connsiteX1" fmla="*/ 58236 w 1442193"/>
                <a:gd name="connsiteY1" fmla="*/ 507789 h 1312627"/>
                <a:gd name="connsiteX2" fmla="*/ 8809 w 1442193"/>
                <a:gd name="connsiteY2" fmla="*/ 791995 h 1312627"/>
                <a:gd name="connsiteX3" fmla="*/ 194160 w 1442193"/>
                <a:gd name="connsiteY3" fmla="*/ 1039130 h 1312627"/>
                <a:gd name="connsiteX4" fmla="*/ 409888 w 1442193"/>
                <a:gd name="connsiteY4" fmla="*/ 1243531 h 1312627"/>
                <a:gd name="connsiteX5" fmla="*/ 601933 w 1442193"/>
                <a:gd name="connsiteY5" fmla="*/ 1310978 h 1312627"/>
                <a:gd name="connsiteX6" fmla="*/ 923209 w 1442193"/>
                <a:gd name="connsiteY6" fmla="*/ 1187411 h 1312627"/>
                <a:gd name="connsiteX7" fmla="*/ 1306268 w 1442193"/>
                <a:gd name="connsiteY7" fmla="*/ 866135 h 1312627"/>
                <a:gd name="connsiteX8" fmla="*/ 1442193 w 1442193"/>
                <a:gd name="connsiteY8" fmla="*/ 619000 h 1312627"/>
                <a:gd name="connsiteX9" fmla="*/ 1306268 w 1442193"/>
                <a:gd name="connsiteY9" fmla="*/ 334795 h 1312627"/>
                <a:gd name="connsiteX10" fmla="*/ 997349 w 1442193"/>
                <a:gd name="connsiteY10" fmla="*/ 75303 h 1312627"/>
                <a:gd name="connsiteX11" fmla="*/ 688430 w 1442193"/>
                <a:gd name="connsiteY11" fmla="*/ 13519 h 1312627"/>
                <a:gd name="connsiteX12" fmla="*/ 253112 w 1442193"/>
                <a:gd name="connsiteY12" fmla="*/ 297723 h 1312627"/>
                <a:gd name="connsiteX0" fmla="*/ 305371 w 1442193"/>
                <a:gd name="connsiteY0" fmla="*/ 257812 h 1309785"/>
                <a:gd name="connsiteX1" fmla="*/ 58236 w 1442193"/>
                <a:gd name="connsiteY1" fmla="*/ 504947 h 1309785"/>
                <a:gd name="connsiteX2" fmla="*/ 8809 w 1442193"/>
                <a:gd name="connsiteY2" fmla="*/ 789153 h 1309785"/>
                <a:gd name="connsiteX3" fmla="*/ 194160 w 1442193"/>
                <a:gd name="connsiteY3" fmla="*/ 1036288 h 1309785"/>
                <a:gd name="connsiteX4" fmla="*/ 409888 w 1442193"/>
                <a:gd name="connsiteY4" fmla="*/ 1240689 h 1309785"/>
                <a:gd name="connsiteX5" fmla="*/ 601933 w 1442193"/>
                <a:gd name="connsiteY5" fmla="*/ 1308136 h 1309785"/>
                <a:gd name="connsiteX6" fmla="*/ 923209 w 1442193"/>
                <a:gd name="connsiteY6" fmla="*/ 1184569 h 1309785"/>
                <a:gd name="connsiteX7" fmla="*/ 1306268 w 1442193"/>
                <a:gd name="connsiteY7" fmla="*/ 863293 h 1309785"/>
                <a:gd name="connsiteX8" fmla="*/ 1442193 w 1442193"/>
                <a:gd name="connsiteY8" fmla="*/ 616158 h 1309785"/>
                <a:gd name="connsiteX9" fmla="*/ 1306268 w 1442193"/>
                <a:gd name="connsiteY9" fmla="*/ 331953 h 1309785"/>
                <a:gd name="connsiteX10" fmla="*/ 997349 w 1442193"/>
                <a:gd name="connsiteY10" fmla="*/ 72461 h 1309785"/>
                <a:gd name="connsiteX11" fmla="*/ 688430 w 1442193"/>
                <a:gd name="connsiteY11" fmla="*/ 10677 h 1309785"/>
                <a:gd name="connsiteX12" fmla="*/ 295974 w 1442193"/>
                <a:gd name="connsiteY12" fmla="*/ 254400 h 1309785"/>
                <a:gd name="connsiteX0" fmla="*/ 305371 w 1442193"/>
                <a:gd name="connsiteY0" fmla="*/ 257812 h 1309785"/>
                <a:gd name="connsiteX1" fmla="*/ 58236 w 1442193"/>
                <a:gd name="connsiteY1" fmla="*/ 504947 h 1309785"/>
                <a:gd name="connsiteX2" fmla="*/ 8809 w 1442193"/>
                <a:gd name="connsiteY2" fmla="*/ 789153 h 1309785"/>
                <a:gd name="connsiteX3" fmla="*/ 194160 w 1442193"/>
                <a:gd name="connsiteY3" fmla="*/ 1036288 h 1309785"/>
                <a:gd name="connsiteX4" fmla="*/ 409888 w 1442193"/>
                <a:gd name="connsiteY4" fmla="*/ 1240689 h 1309785"/>
                <a:gd name="connsiteX5" fmla="*/ 601933 w 1442193"/>
                <a:gd name="connsiteY5" fmla="*/ 1308136 h 1309785"/>
                <a:gd name="connsiteX6" fmla="*/ 923209 w 1442193"/>
                <a:gd name="connsiteY6" fmla="*/ 1184569 h 1309785"/>
                <a:gd name="connsiteX7" fmla="*/ 1306268 w 1442193"/>
                <a:gd name="connsiteY7" fmla="*/ 863293 h 1309785"/>
                <a:gd name="connsiteX8" fmla="*/ 1442193 w 1442193"/>
                <a:gd name="connsiteY8" fmla="*/ 616158 h 1309785"/>
                <a:gd name="connsiteX9" fmla="*/ 1306268 w 1442193"/>
                <a:gd name="connsiteY9" fmla="*/ 331953 h 1309785"/>
                <a:gd name="connsiteX10" fmla="*/ 997349 w 1442193"/>
                <a:gd name="connsiteY10" fmla="*/ 72461 h 1309785"/>
                <a:gd name="connsiteX11" fmla="*/ 688430 w 1442193"/>
                <a:gd name="connsiteY11" fmla="*/ 10677 h 1309785"/>
                <a:gd name="connsiteX12" fmla="*/ 307881 w 1442193"/>
                <a:gd name="connsiteY12" fmla="*/ 254400 h 1309785"/>
                <a:gd name="connsiteX0" fmla="*/ 305371 w 1442193"/>
                <a:gd name="connsiteY0" fmla="*/ 258143 h 1310116"/>
                <a:gd name="connsiteX1" fmla="*/ 58236 w 1442193"/>
                <a:gd name="connsiteY1" fmla="*/ 505278 h 1310116"/>
                <a:gd name="connsiteX2" fmla="*/ 8809 w 1442193"/>
                <a:gd name="connsiteY2" fmla="*/ 789484 h 1310116"/>
                <a:gd name="connsiteX3" fmla="*/ 194160 w 1442193"/>
                <a:gd name="connsiteY3" fmla="*/ 1036619 h 1310116"/>
                <a:gd name="connsiteX4" fmla="*/ 409888 w 1442193"/>
                <a:gd name="connsiteY4" fmla="*/ 1241020 h 1310116"/>
                <a:gd name="connsiteX5" fmla="*/ 601933 w 1442193"/>
                <a:gd name="connsiteY5" fmla="*/ 1308467 h 1310116"/>
                <a:gd name="connsiteX6" fmla="*/ 923209 w 1442193"/>
                <a:gd name="connsiteY6" fmla="*/ 1184900 h 1310116"/>
                <a:gd name="connsiteX7" fmla="*/ 1306268 w 1442193"/>
                <a:gd name="connsiteY7" fmla="*/ 863624 h 1310116"/>
                <a:gd name="connsiteX8" fmla="*/ 1442193 w 1442193"/>
                <a:gd name="connsiteY8" fmla="*/ 616489 h 1310116"/>
                <a:gd name="connsiteX9" fmla="*/ 1306268 w 1442193"/>
                <a:gd name="connsiteY9" fmla="*/ 332284 h 1310116"/>
                <a:gd name="connsiteX10" fmla="*/ 997349 w 1442193"/>
                <a:gd name="connsiteY10" fmla="*/ 72792 h 1310116"/>
                <a:gd name="connsiteX11" fmla="*/ 688430 w 1442193"/>
                <a:gd name="connsiteY11" fmla="*/ 11008 h 1310116"/>
                <a:gd name="connsiteX12" fmla="*/ 298356 w 1442193"/>
                <a:gd name="connsiteY12" fmla="*/ 259493 h 1310116"/>
                <a:gd name="connsiteX0" fmla="*/ 305371 w 1442193"/>
                <a:gd name="connsiteY0" fmla="*/ 258476 h 1310449"/>
                <a:gd name="connsiteX1" fmla="*/ 58236 w 1442193"/>
                <a:gd name="connsiteY1" fmla="*/ 505611 h 1310449"/>
                <a:gd name="connsiteX2" fmla="*/ 8809 w 1442193"/>
                <a:gd name="connsiteY2" fmla="*/ 789817 h 1310449"/>
                <a:gd name="connsiteX3" fmla="*/ 194160 w 1442193"/>
                <a:gd name="connsiteY3" fmla="*/ 1036952 h 1310449"/>
                <a:gd name="connsiteX4" fmla="*/ 409888 w 1442193"/>
                <a:gd name="connsiteY4" fmla="*/ 1241353 h 1310449"/>
                <a:gd name="connsiteX5" fmla="*/ 601933 w 1442193"/>
                <a:gd name="connsiteY5" fmla="*/ 1308800 h 1310449"/>
                <a:gd name="connsiteX6" fmla="*/ 923209 w 1442193"/>
                <a:gd name="connsiteY6" fmla="*/ 1185233 h 1310449"/>
                <a:gd name="connsiteX7" fmla="*/ 1306268 w 1442193"/>
                <a:gd name="connsiteY7" fmla="*/ 863957 h 1310449"/>
                <a:gd name="connsiteX8" fmla="*/ 1442193 w 1442193"/>
                <a:gd name="connsiteY8" fmla="*/ 616822 h 1310449"/>
                <a:gd name="connsiteX9" fmla="*/ 1306268 w 1442193"/>
                <a:gd name="connsiteY9" fmla="*/ 332617 h 1310449"/>
                <a:gd name="connsiteX10" fmla="*/ 997349 w 1442193"/>
                <a:gd name="connsiteY10" fmla="*/ 73125 h 1310449"/>
                <a:gd name="connsiteX11" fmla="*/ 688430 w 1442193"/>
                <a:gd name="connsiteY11" fmla="*/ 11341 h 1310449"/>
                <a:gd name="connsiteX12" fmla="*/ 295975 w 1442193"/>
                <a:gd name="connsiteY12" fmla="*/ 264589 h 1310449"/>
                <a:gd name="connsiteX0" fmla="*/ 305371 w 1442193"/>
                <a:gd name="connsiteY0" fmla="*/ 258476 h 1332161"/>
                <a:gd name="connsiteX1" fmla="*/ 58236 w 1442193"/>
                <a:gd name="connsiteY1" fmla="*/ 505611 h 1332161"/>
                <a:gd name="connsiteX2" fmla="*/ 8809 w 1442193"/>
                <a:gd name="connsiteY2" fmla="*/ 789817 h 1332161"/>
                <a:gd name="connsiteX3" fmla="*/ 194160 w 1442193"/>
                <a:gd name="connsiteY3" fmla="*/ 1036952 h 1332161"/>
                <a:gd name="connsiteX4" fmla="*/ 409888 w 1442193"/>
                <a:gd name="connsiteY4" fmla="*/ 1241353 h 1332161"/>
                <a:gd name="connsiteX5" fmla="*/ 627333 w 1442193"/>
                <a:gd name="connsiteY5" fmla="*/ 1331025 h 1332161"/>
                <a:gd name="connsiteX6" fmla="*/ 923209 w 1442193"/>
                <a:gd name="connsiteY6" fmla="*/ 1185233 h 1332161"/>
                <a:gd name="connsiteX7" fmla="*/ 1306268 w 1442193"/>
                <a:gd name="connsiteY7" fmla="*/ 863957 h 1332161"/>
                <a:gd name="connsiteX8" fmla="*/ 1442193 w 1442193"/>
                <a:gd name="connsiteY8" fmla="*/ 616822 h 1332161"/>
                <a:gd name="connsiteX9" fmla="*/ 1306268 w 1442193"/>
                <a:gd name="connsiteY9" fmla="*/ 332617 h 1332161"/>
                <a:gd name="connsiteX10" fmla="*/ 997349 w 1442193"/>
                <a:gd name="connsiteY10" fmla="*/ 73125 h 1332161"/>
                <a:gd name="connsiteX11" fmla="*/ 688430 w 1442193"/>
                <a:gd name="connsiteY11" fmla="*/ 11341 h 1332161"/>
                <a:gd name="connsiteX12" fmla="*/ 295975 w 1442193"/>
                <a:gd name="connsiteY12" fmla="*/ 264589 h 1332161"/>
                <a:gd name="connsiteX0" fmla="*/ 305371 w 1435843"/>
                <a:gd name="connsiteY0" fmla="*/ 258476 h 1332161"/>
                <a:gd name="connsiteX1" fmla="*/ 58236 w 1435843"/>
                <a:gd name="connsiteY1" fmla="*/ 505611 h 1332161"/>
                <a:gd name="connsiteX2" fmla="*/ 8809 w 1435843"/>
                <a:gd name="connsiteY2" fmla="*/ 789817 h 1332161"/>
                <a:gd name="connsiteX3" fmla="*/ 194160 w 1435843"/>
                <a:gd name="connsiteY3" fmla="*/ 1036952 h 1332161"/>
                <a:gd name="connsiteX4" fmla="*/ 409888 w 1435843"/>
                <a:gd name="connsiteY4" fmla="*/ 1241353 h 1332161"/>
                <a:gd name="connsiteX5" fmla="*/ 627333 w 1435843"/>
                <a:gd name="connsiteY5" fmla="*/ 1331025 h 1332161"/>
                <a:gd name="connsiteX6" fmla="*/ 923209 w 1435843"/>
                <a:gd name="connsiteY6" fmla="*/ 1185233 h 1332161"/>
                <a:gd name="connsiteX7" fmla="*/ 1306268 w 1435843"/>
                <a:gd name="connsiteY7" fmla="*/ 863957 h 1332161"/>
                <a:gd name="connsiteX8" fmla="*/ 1435843 w 1435843"/>
                <a:gd name="connsiteY8" fmla="*/ 623172 h 1332161"/>
                <a:gd name="connsiteX9" fmla="*/ 1306268 w 1435843"/>
                <a:gd name="connsiteY9" fmla="*/ 332617 h 1332161"/>
                <a:gd name="connsiteX10" fmla="*/ 997349 w 1435843"/>
                <a:gd name="connsiteY10" fmla="*/ 73125 h 1332161"/>
                <a:gd name="connsiteX11" fmla="*/ 688430 w 1435843"/>
                <a:gd name="connsiteY11" fmla="*/ 11341 h 1332161"/>
                <a:gd name="connsiteX12" fmla="*/ 295975 w 1435843"/>
                <a:gd name="connsiteY12" fmla="*/ 264589 h 1332161"/>
                <a:gd name="connsiteX0" fmla="*/ 305371 w 1435847"/>
                <a:gd name="connsiteY0" fmla="*/ 258622 h 1332307"/>
                <a:gd name="connsiteX1" fmla="*/ 58236 w 1435847"/>
                <a:gd name="connsiteY1" fmla="*/ 505757 h 1332307"/>
                <a:gd name="connsiteX2" fmla="*/ 8809 w 1435847"/>
                <a:gd name="connsiteY2" fmla="*/ 789963 h 1332307"/>
                <a:gd name="connsiteX3" fmla="*/ 194160 w 1435847"/>
                <a:gd name="connsiteY3" fmla="*/ 1037098 h 1332307"/>
                <a:gd name="connsiteX4" fmla="*/ 409888 w 1435847"/>
                <a:gd name="connsiteY4" fmla="*/ 1241499 h 1332307"/>
                <a:gd name="connsiteX5" fmla="*/ 627333 w 1435847"/>
                <a:gd name="connsiteY5" fmla="*/ 1331171 h 1332307"/>
                <a:gd name="connsiteX6" fmla="*/ 923209 w 1435847"/>
                <a:gd name="connsiteY6" fmla="*/ 1185379 h 1332307"/>
                <a:gd name="connsiteX7" fmla="*/ 1306268 w 1435847"/>
                <a:gd name="connsiteY7" fmla="*/ 864103 h 1332307"/>
                <a:gd name="connsiteX8" fmla="*/ 1435843 w 1435847"/>
                <a:gd name="connsiteY8" fmla="*/ 623318 h 1332307"/>
                <a:gd name="connsiteX9" fmla="*/ 1303093 w 1435847"/>
                <a:gd name="connsiteY9" fmla="*/ 339113 h 1332307"/>
                <a:gd name="connsiteX10" fmla="*/ 997349 w 1435847"/>
                <a:gd name="connsiteY10" fmla="*/ 73271 h 1332307"/>
                <a:gd name="connsiteX11" fmla="*/ 688430 w 1435847"/>
                <a:gd name="connsiteY11" fmla="*/ 11487 h 1332307"/>
                <a:gd name="connsiteX12" fmla="*/ 295975 w 1435847"/>
                <a:gd name="connsiteY12" fmla="*/ 264735 h 1332307"/>
                <a:gd name="connsiteX0" fmla="*/ 305371 w 1435847"/>
                <a:gd name="connsiteY0" fmla="*/ 257598 h 1331283"/>
                <a:gd name="connsiteX1" fmla="*/ 58236 w 1435847"/>
                <a:gd name="connsiteY1" fmla="*/ 504733 h 1331283"/>
                <a:gd name="connsiteX2" fmla="*/ 8809 w 1435847"/>
                <a:gd name="connsiteY2" fmla="*/ 788939 h 1331283"/>
                <a:gd name="connsiteX3" fmla="*/ 194160 w 1435847"/>
                <a:gd name="connsiteY3" fmla="*/ 1036074 h 1331283"/>
                <a:gd name="connsiteX4" fmla="*/ 409888 w 1435847"/>
                <a:gd name="connsiteY4" fmla="*/ 1240475 h 1331283"/>
                <a:gd name="connsiteX5" fmla="*/ 627333 w 1435847"/>
                <a:gd name="connsiteY5" fmla="*/ 1330147 h 1331283"/>
                <a:gd name="connsiteX6" fmla="*/ 923209 w 1435847"/>
                <a:gd name="connsiteY6" fmla="*/ 1184355 h 1331283"/>
                <a:gd name="connsiteX7" fmla="*/ 1306268 w 1435847"/>
                <a:gd name="connsiteY7" fmla="*/ 863079 h 1331283"/>
                <a:gd name="connsiteX8" fmla="*/ 1435843 w 1435847"/>
                <a:gd name="connsiteY8" fmla="*/ 622294 h 1331283"/>
                <a:gd name="connsiteX9" fmla="*/ 1303093 w 1435847"/>
                <a:gd name="connsiteY9" fmla="*/ 338089 h 1331283"/>
                <a:gd name="connsiteX10" fmla="*/ 1016399 w 1435847"/>
                <a:gd name="connsiteY10" fmla="*/ 77010 h 1331283"/>
                <a:gd name="connsiteX11" fmla="*/ 688430 w 1435847"/>
                <a:gd name="connsiteY11" fmla="*/ 10463 h 1331283"/>
                <a:gd name="connsiteX12" fmla="*/ 295975 w 1435847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16399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36043" h="1331283">
                  <a:moveTo>
                    <a:pt x="305371" y="257598"/>
                  </a:moveTo>
                  <a:cubicBezTo>
                    <a:pt x="206517" y="336887"/>
                    <a:pt x="107663" y="416176"/>
                    <a:pt x="58236" y="504733"/>
                  </a:cubicBezTo>
                  <a:cubicBezTo>
                    <a:pt x="8809" y="593290"/>
                    <a:pt x="-13845" y="700382"/>
                    <a:pt x="8809" y="788939"/>
                  </a:cubicBezTo>
                  <a:cubicBezTo>
                    <a:pt x="31463" y="877496"/>
                    <a:pt x="127313" y="960818"/>
                    <a:pt x="194160" y="1036074"/>
                  </a:cubicBezTo>
                  <a:cubicBezTo>
                    <a:pt x="261007" y="1111330"/>
                    <a:pt x="337692" y="1191463"/>
                    <a:pt x="409888" y="1240475"/>
                  </a:cubicBezTo>
                  <a:cubicBezTo>
                    <a:pt x="482084" y="1289487"/>
                    <a:pt x="541780" y="1339500"/>
                    <a:pt x="627333" y="1330147"/>
                  </a:cubicBezTo>
                  <a:cubicBezTo>
                    <a:pt x="712886" y="1320794"/>
                    <a:pt x="810053" y="1262200"/>
                    <a:pt x="923209" y="1184355"/>
                  </a:cubicBezTo>
                  <a:cubicBezTo>
                    <a:pt x="1036365" y="1106510"/>
                    <a:pt x="1220829" y="956756"/>
                    <a:pt x="1306268" y="863079"/>
                  </a:cubicBezTo>
                  <a:cubicBezTo>
                    <a:pt x="1391707" y="769402"/>
                    <a:pt x="1439547" y="709792"/>
                    <a:pt x="1435843" y="622294"/>
                  </a:cubicBezTo>
                  <a:cubicBezTo>
                    <a:pt x="1432139" y="534796"/>
                    <a:pt x="1379351" y="452783"/>
                    <a:pt x="1284043" y="338089"/>
                  </a:cubicBezTo>
                  <a:cubicBezTo>
                    <a:pt x="1188735" y="223395"/>
                    <a:pt x="1106143" y="131614"/>
                    <a:pt x="1006874" y="77010"/>
                  </a:cubicBezTo>
                  <a:cubicBezTo>
                    <a:pt x="907605" y="22406"/>
                    <a:pt x="806913" y="-20654"/>
                    <a:pt x="688430" y="10463"/>
                  </a:cubicBezTo>
                  <a:cubicBezTo>
                    <a:pt x="569947" y="41580"/>
                    <a:pt x="455583" y="140143"/>
                    <a:pt x="295975" y="263711"/>
                  </a:cubicBezTo>
                </a:path>
              </a:pathLst>
            </a:custGeom>
            <a:solidFill>
              <a:srgbClr val="FFC000"/>
            </a:solidFill>
            <a:ln w="571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08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endParaRPr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F16F57FC-5064-4E43-9492-D6D0F22BB66B}"/>
                </a:ext>
              </a:extLst>
            </p:cNvPr>
            <p:cNvSpPr/>
            <p:nvPr userDrawn="1"/>
          </p:nvSpPr>
          <p:spPr>
            <a:xfrm>
              <a:off x="9991064" y="62750"/>
              <a:ext cx="553726" cy="510709"/>
            </a:xfrm>
            <a:custGeom>
              <a:avLst/>
              <a:gdLst>
                <a:gd name="connsiteX0" fmla="*/ 305371 w 1442193"/>
                <a:gd name="connsiteY0" fmla="*/ 260653 h 1311522"/>
                <a:gd name="connsiteX1" fmla="*/ 58236 w 1442193"/>
                <a:gd name="connsiteY1" fmla="*/ 507788 h 1311522"/>
                <a:gd name="connsiteX2" fmla="*/ 8809 w 1442193"/>
                <a:gd name="connsiteY2" fmla="*/ 791994 h 1311522"/>
                <a:gd name="connsiteX3" fmla="*/ 194160 w 1442193"/>
                <a:gd name="connsiteY3" fmla="*/ 1039129 h 1311522"/>
                <a:gd name="connsiteX4" fmla="*/ 428938 w 1442193"/>
                <a:gd name="connsiteY4" fmla="*/ 1224480 h 1311522"/>
                <a:gd name="connsiteX5" fmla="*/ 601933 w 1442193"/>
                <a:gd name="connsiteY5" fmla="*/ 1310977 h 1311522"/>
                <a:gd name="connsiteX6" fmla="*/ 923209 w 1442193"/>
                <a:gd name="connsiteY6" fmla="*/ 1187410 h 1311522"/>
                <a:gd name="connsiteX7" fmla="*/ 1306268 w 1442193"/>
                <a:gd name="connsiteY7" fmla="*/ 866134 h 1311522"/>
                <a:gd name="connsiteX8" fmla="*/ 1442193 w 1442193"/>
                <a:gd name="connsiteY8" fmla="*/ 618999 h 1311522"/>
                <a:gd name="connsiteX9" fmla="*/ 1306268 w 1442193"/>
                <a:gd name="connsiteY9" fmla="*/ 334794 h 1311522"/>
                <a:gd name="connsiteX10" fmla="*/ 997349 w 1442193"/>
                <a:gd name="connsiteY10" fmla="*/ 75302 h 1311522"/>
                <a:gd name="connsiteX11" fmla="*/ 688430 w 1442193"/>
                <a:gd name="connsiteY11" fmla="*/ 13518 h 1311522"/>
                <a:gd name="connsiteX12" fmla="*/ 243587 w 1442193"/>
                <a:gd name="connsiteY12" fmla="*/ 297723 h 1311522"/>
                <a:gd name="connsiteX0" fmla="*/ 305371 w 1442193"/>
                <a:gd name="connsiteY0" fmla="*/ 260653 h 1312626"/>
                <a:gd name="connsiteX1" fmla="*/ 58236 w 1442193"/>
                <a:gd name="connsiteY1" fmla="*/ 507788 h 1312626"/>
                <a:gd name="connsiteX2" fmla="*/ 8809 w 1442193"/>
                <a:gd name="connsiteY2" fmla="*/ 791994 h 1312626"/>
                <a:gd name="connsiteX3" fmla="*/ 194160 w 1442193"/>
                <a:gd name="connsiteY3" fmla="*/ 1039129 h 1312626"/>
                <a:gd name="connsiteX4" fmla="*/ 409888 w 1442193"/>
                <a:gd name="connsiteY4" fmla="*/ 1243530 h 1312626"/>
                <a:gd name="connsiteX5" fmla="*/ 601933 w 1442193"/>
                <a:gd name="connsiteY5" fmla="*/ 1310977 h 1312626"/>
                <a:gd name="connsiteX6" fmla="*/ 923209 w 1442193"/>
                <a:gd name="connsiteY6" fmla="*/ 1187410 h 1312626"/>
                <a:gd name="connsiteX7" fmla="*/ 1306268 w 1442193"/>
                <a:gd name="connsiteY7" fmla="*/ 866134 h 1312626"/>
                <a:gd name="connsiteX8" fmla="*/ 1442193 w 1442193"/>
                <a:gd name="connsiteY8" fmla="*/ 618999 h 1312626"/>
                <a:gd name="connsiteX9" fmla="*/ 1306268 w 1442193"/>
                <a:gd name="connsiteY9" fmla="*/ 334794 h 1312626"/>
                <a:gd name="connsiteX10" fmla="*/ 997349 w 1442193"/>
                <a:gd name="connsiteY10" fmla="*/ 75302 h 1312626"/>
                <a:gd name="connsiteX11" fmla="*/ 688430 w 1442193"/>
                <a:gd name="connsiteY11" fmla="*/ 13518 h 1312626"/>
                <a:gd name="connsiteX12" fmla="*/ 243587 w 1442193"/>
                <a:gd name="connsiteY12" fmla="*/ 297723 h 1312626"/>
                <a:gd name="connsiteX0" fmla="*/ 305371 w 1442193"/>
                <a:gd name="connsiteY0" fmla="*/ 260821 h 1312794"/>
                <a:gd name="connsiteX1" fmla="*/ 58236 w 1442193"/>
                <a:gd name="connsiteY1" fmla="*/ 507956 h 1312794"/>
                <a:gd name="connsiteX2" fmla="*/ 8809 w 1442193"/>
                <a:gd name="connsiteY2" fmla="*/ 792162 h 1312794"/>
                <a:gd name="connsiteX3" fmla="*/ 194160 w 1442193"/>
                <a:gd name="connsiteY3" fmla="*/ 1039297 h 1312794"/>
                <a:gd name="connsiteX4" fmla="*/ 409888 w 1442193"/>
                <a:gd name="connsiteY4" fmla="*/ 1243698 h 1312794"/>
                <a:gd name="connsiteX5" fmla="*/ 601933 w 1442193"/>
                <a:gd name="connsiteY5" fmla="*/ 1311145 h 1312794"/>
                <a:gd name="connsiteX6" fmla="*/ 923209 w 1442193"/>
                <a:gd name="connsiteY6" fmla="*/ 1187578 h 1312794"/>
                <a:gd name="connsiteX7" fmla="*/ 1306268 w 1442193"/>
                <a:gd name="connsiteY7" fmla="*/ 866302 h 1312794"/>
                <a:gd name="connsiteX8" fmla="*/ 1442193 w 1442193"/>
                <a:gd name="connsiteY8" fmla="*/ 619167 h 1312794"/>
                <a:gd name="connsiteX9" fmla="*/ 1306268 w 1442193"/>
                <a:gd name="connsiteY9" fmla="*/ 334962 h 1312794"/>
                <a:gd name="connsiteX10" fmla="*/ 997349 w 1442193"/>
                <a:gd name="connsiteY10" fmla="*/ 75470 h 1312794"/>
                <a:gd name="connsiteX11" fmla="*/ 688430 w 1442193"/>
                <a:gd name="connsiteY11" fmla="*/ 13686 h 1312794"/>
                <a:gd name="connsiteX12" fmla="*/ 260256 w 1442193"/>
                <a:gd name="connsiteY12" fmla="*/ 300272 h 1312794"/>
                <a:gd name="connsiteX0" fmla="*/ 305371 w 1442193"/>
                <a:gd name="connsiteY0" fmla="*/ 260654 h 1312627"/>
                <a:gd name="connsiteX1" fmla="*/ 58236 w 1442193"/>
                <a:gd name="connsiteY1" fmla="*/ 507789 h 1312627"/>
                <a:gd name="connsiteX2" fmla="*/ 8809 w 1442193"/>
                <a:gd name="connsiteY2" fmla="*/ 791995 h 1312627"/>
                <a:gd name="connsiteX3" fmla="*/ 194160 w 1442193"/>
                <a:gd name="connsiteY3" fmla="*/ 1039130 h 1312627"/>
                <a:gd name="connsiteX4" fmla="*/ 409888 w 1442193"/>
                <a:gd name="connsiteY4" fmla="*/ 1243531 h 1312627"/>
                <a:gd name="connsiteX5" fmla="*/ 601933 w 1442193"/>
                <a:gd name="connsiteY5" fmla="*/ 1310978 h 1312627"/>
                <a:gd name="connsiteX6" fmla="*/ 923209 w 1442193"/>
                <a:gd name="connsiteY6" fmla="*/ 1187411 h 1312627"/>
                <a:gd name="connsiteX7" fmla="*/ 1306268 w 1442193"/>
                <a:gd name="connsiteY7" fmla="*/ 866135 h 1312627"/>
                <a:gd name="connsiteX8" fmla="*/ 1442193 w 1442193"/>
                <a:gd name="connsiteY8" fmla="*/ 619000 h 1312627"/>
                <a:gd name="connsiteX9" fmla="*/ 1306268 w 1442193"/>
                <a:gd name="connsiteY9" fmla="*/ 334795 h 1312627"/>
                <a:gd name="connsiteX10" fmla="*/ 997349 w 1442193"/>
                <a:gd name="connsiteY10" fmla="*/ 75303 h 1312627"/>
                <a:gd name="connsiteX11" fmla="*/ 688430 w 1442193"/>
                <a:gd name="connsiteY11" fmla="*/ 13519 h 1312627"/>
                <a:gd name="connsiteX12" fmla="*/ 253112 w 1442193"/>
                <a:gd name="connsiteY12" fmla="*/ 297723 h 1312627"/>
                <a:gd name="connsiteX0" fmla="*/ 305371 w 1442193"/>
                <a:gd name="connsiteY0" fmla="*/ 257812 h 1309785"/>
                <a:gd name="connsiteX1" fmla="*/ 58236 w 1442193"/>
                <a:gd name="connsiteY1" fmla="*/ 504947 h 1309785"/>
                <a:gd name="connsiteX2" fmla="*/ 8809 w 1442193"/>
                <a:gd name="connsiteY2" fmla="*/ 789153 h 1309785"/>
                <a:gd name="connsiteX3" fmla="*/ 194160 w 1442193"/>
                <a:gd name="connsiteY3" fmla="*/ 1036288 h 1309785"/>
                <a:gd name="connsiteX4" fmla="*/ 409888 w 1442193"/>
                <a:gd name="connsiteY4" fmla="*/ 1240689 h 1309785"/>
                <a:gd name="connsiteX5" fmla="*/ 601933 w 1442193"/>
                <a:gd name="connsiteY5" fmla="*/ 1308136 h 1309785"/>
                <a:gd name="connsiteX6" fmla="*/ 923209 w 1442193"/>
                <a:gd name="connsiteY6" fmla="*/ 1184569 h 1309785"/>
                <a:gd name="connsiteX7" fmla="*/ 1306268 w 1442193"/>
                <a:gd name="connsiteY7" fmla="*/ 863293 h 1309785"/>
                <a:gd name="connsiteX8" fmla="*/ 1442193 w 1442193"/>
                <a:gd name="connsiteY8" fmla="*/ 616158 h 1309785"/>
                <a:gd name="connsiteX9" fmla="*/ 1306268 w 1442193"/>
                <a:gd name="connsiteY9" fmla="*/ 331953 h 1309785"/>
                <a:gd name="connsiteX10" fmla="*/ 997349 w 1442193"/>
                <a:gd name="connsiteY10" fmla="*/ 72461 h 1309785"/>
                <a:gd name="connsiteX11" fmla="*/ 688430 w 1442193"/>
                <a:gd name="connsiteY11" fmla="*/ 10677 h 1309785"/>
                <a:gd name="connsiteX12" fmla="*/ 295974 w 1442193"/>
                <a:gd name="connsiteY12" fmla="*/ 254400 h 1309785"/>
                <a:gd name="connsiteX0" fmla="*/ 305371 w 1442193"/>
                <a:gd name="connsiteY0" fmla="*/ 257812 h 1309785"/>
                <a:gd name="connsiteX1" fmla="*/ 58236 w 1442193"/>
                <a:gd name="connsiteY1" fmla="*/ 504947 h 1309785"/>
                <a:gd name="connsiteX2" fmla="*/ 8809 w 1442193"/>
                <a:gd name="connsiteY2" fmla="*/ 789153 h 1309785"/>
                <a:gd name="connsiteX3" fmla="*/ 194160 w 1442193"/>
                <a:gd name="connsiteY3" fmla="*/ 1036288 h 1309785"/>
                <a:gd name="connsiteX4" fmla="*/ 409888 w 1442193"/>
                <a:gd name="connsiteY4" fmla="*/ 1240689 h 1309785"/>
                <a:gd name="connsiteX5" fmla="*/ 601933 w 1442193"/>
                <a:gd name="connsiteY5" fmla="*/ 1308136 h 1309785"/>
                <a:gd name="connsiteX6" fmla="*/ 923209 w 1442193"/>
                <a:gd name="connsiteY6" fmla="*/ 1184569 h 1309785"/>
                <a:gd name="connsiteX7" fmla="*/ 1306268 w 1442193"/>
                <a:gd name="connsiteY7" fmla="*/ 863293 h 1309785"/>
                <a:gd name="connsiteX8" fmla="*/ 1442193 w 1442193"/>
                <a:gd name="connsiteY8" fmla="*/ 616158 h 1309785"/>
                <a:gd name="connsiteX9" fmla="*/ 1306268 w 1442193"/>
                <a:gd name="connsiteY9" fmla="*/ 331953 h 1309785"/>
                <a:gd name="connsiteX10" fmla="*/ 997349 w 1442193"/>
                <a:gd name="connsiteY10" fmla="*/ 72461 h 1309785"/>
                <a:gd name="connsiteX11" fmla="*/ 688430 w 1442193"/>
                <a:gd name="connsiteY11" fmla="*/ 10677 h 1309785"/>
                <a:gd name="connsiteX12" fmla="*/ 307881 w 1442193"/>
                <a:gd name="connsiteY12" fmla="*/ 254400 h 1309785"/>
                <a:gd name="connsiteX0" fmla="*/ 305371 w 1442193"/>
                <a:gd name="connsiteY0" fmla="*/ 258143 h 1310116"/>
                <a:gd name="connsiteX1" fmla="*/ 58236 w 1442193"/>
                <a:gd name="connsiteY1" fmla="*/ 505278 h 1310116"/>
                <a:gd name="connsiteX2" fmla="*/ 8809 w 1442193"/>
                <a:gd name="connsiteY2" fmla="*/ 789484 h 1310116"/>
                <a:gd name="connsiteX3" fmla="*/ 194160 w 1442193"/>
                <a:gd name="connsiteY3" fmla="*/ 1036619 h 1310116"/>
                <a:gd name="connsiteX4" fmla="*/ 409888 w 1442193"/>
                <a:gd name="connsiteY4" fmla="*/ 1241020 h 1310116"/>
                <a:gd name="connsiteX5" fmla="*/ 601933 w 1442193"/>
                <a:gd name="connsiteY5" fmla="*/ 1308467 h 1310116"/>
                <a:gd name="connsiteX6" fmla="*/ 923209 w 1442193"/>
                <a:gd name="connsiteY6" fmla="*/ 1184900 h 1310116"/>
                <a:gd name="connsiteX7" fmla="*/ 1306268 w 1442193"/>
                <a:gd name="connsiteY7" fmla="*/ 863624 h 1310116"/>
                <a:gd name="connsiteX8" fmla="*/ 1442193 w 1442193"/>
                <a:gd name="connsiteY8" fmla="*/ 616489 h 1310116"/>
                <a:gd name="connsiteX9" fmla="*/ 1306268 w 1442193"/>
                <a:gd name="connsiteY9" fmla="*/ 332284 h 1310116"/>
                <a:gd name="connsiteX10" fmla="*/ 997349 w 1442193"/>
                <a:gd name="connsiteY10" fmla="*/ 72792 h 1310116"/>
                <a:gd name="connsiteX11" fmla="*/ 688430 w 1442193"/>
                <a:gd name="connsiteY11" fmla="*/ 11008 h 1310116"/>
                <a:gd name="connsiteX12" fmla="*/ 298356 w 1442193"/>
                <a:gd name="connsiteY12" fmla="*/ 259493 h 1310116"/>
                <a:gd name="connsiteX0" fmla="*/ 305371 w 1442193"/>
                <a:gd name="connsiteY0" fmla="*/ 258476 h 1310449"/>
                <a:gd name="connsiteX1" fmla="*/ 58236 w 1442193"/>
                <a:gd name="connsiteY1" fmla="*/ 505611 h 1310449"/>
                <a:gd name="connsiteX2" fmla="*/ 8809 w 1442193"/>
                <a:gd name="connsiteY2" fmla="*/ 789817 h 1310449"/>
                <a:gd name="connsiteX3" fmla="*/ 194160 w 1442193"/>
                <a:gd name="connsiteY3" fmla="*/ 1036952 h 1310449"/>
                <a:gd name="connsiteX4" fmla="*/ 409888 w 1442193"/>
                <a:gd name="connsiteY4" fmla="*/ 1241353 h 1310449"/>
                <a:gd name="connsiteX5" fmla="*/ 601933 w 1442193"/>
                <a:gd name="connsiteY5" fmla="*/ 1308800 h 1310449"/>
                <a:gd name="connsiteX6" fmla="*/ 923209 w 1442193"/>
                <a:gd name="connsiteY6" fmla="*/ 1185233 h 1310449"/>
                <a:gd name="connsiteX7" fmla="*/ 1306268 w 1442193"/>
                <a:gd name="connsiteY7" fmla="*/ 863957 h 1310449"/>
                <a:gd name="connsiteX8" fmla="*/ 1442193 w 1442193"/>
                <a:gd name="connsiteY8" fmla="*/ 616822 h 1310449"/>
                <a:gd name="connsiteX9" fmla="*/ 1306268 w 1442193"/>
                <a:gd name="connsiteY9" fmla="*/ 332617 h 1310449"/>
                <a:gd name="connsiteX10" fmla="*/ 997349 w 1442193"/>
                <a:gd name="connsiteY10" fmla="*/ 73125 h 1310449"/>
                <a:gd name="connsiteX11" fmla="*/ 688430 w 1442193"/>
                <a:gd name="connsiteY11" fmla="*/ 11341 h 1310449"/>
                <a:gd name="connsiteX12" fmla="*/ 295975 w 1442193"/>
                <a:gd name="connsiteY12" fmla="*/ 264589 h 1310449"/>
                <a:gd name="connsiteX0" fmla="*/ 305371 w 1442193"/>
                <a:gd name="connsiteY0" fmla="*/ 258476 h 1332161"/>
                <a:gd name="connsiteX1" fmla="*/ 58236 w 1442193"/>
                <a:gd name="connsiteY1" fmla="*/ 505611 h 1332161"/>
                <a:gd name="connsiteX2" fmla="*/ 8809 w 1442193"/>
                <a:gd name="connsiteY2" fmla="*/ 789817 h 1332161"/>
                <a:gd name="connsiteX3" fmla="*/ 194160 w 1442193"/>
                <a:gd name="connsiteY3" fmla="*/ 1036952 h 1332161"/>
                <a:gd name="connsiteX4" fmla="*/ 409888 w 1442193"/>
                <a:gd name="connsiteY4" fmla="*/ 1241353 h 1332161"/>
                <a:gd name="connsiteX5" fmla="*/ 627333 w 1442193"/>
                <a:gd name="connsiteY5" fmla="*/ 1331025 h 1332161"/>
                <a:gd name="connsiteX6" fmla="*/ 923209 w 1442193"/>
                <a:gd name="connsiteY6" fmla="*/ 1185233 h 1332161"/>
                <a:gd name="connsiteX7" fmla="*/ 1306268 w 1442193"/>
                <a:gd name="connsiteY7" fmla="*/ 863957 h 1332161"/>
                <a:gd name="connsiteX8" fmla="*/ 1442193 w 1442193"/>
                <a:gd name="connsiteY8" fmla="*/ 616822 h 1332161"/>
                <a:gd name="connsiteX9" fmla="*/ 1306268 w 1442193"/>
                <a:gd name="connsiteY9" fmla="*/ 332617 h 1332161"/>
                <a:gd name="connsiteX10" fmla="*/ 997349 w 1442193"/>
                <a:gd name="connsiteY10" fmla="*/ 73125 h 1332161"/>
                <a:gd name="connsiteX11" fmla="*/ 688430 w 1442193"/>
                <a:gd name="connsiteY11" fmla="*/ 11341 h 1332161"/>
                <a:gd name="connsiteX12" fmla="*/ 295975 w 1442193"/>
                <a:gd name="connsiteY12" fmla="*/ 264589 h 1332161"/>
                <a:gd name="connsiteX0" fmla="*/ 305371 w 1435843"/>
                <a:gd name="connsiteY0" fmla="*/ 258476 h 1332161"/>
                <a:gd name="connsiteX1" fmla="*/ 58236 w 1435843"/>
                <a:gd name="connsiteY1" fmla="*/ 505611 h 1332161"/>
                <a:gd name="connsiteX2" fmla="*/ 8809 w 1435843"/>
                <a:gd name="connsiteY2" fmla="*/ 789817 h 1332161"/>
                <a:gd name="connsiteX3" fmla="*/ 194160 w 1435843"/>
                <a:gd name="connsiteY3" fmla="*/ 1036952 h 1332161"/>
                <a:gd name="connsiteX4" fmla="*/ 409888 w 1435843"/>
                <a:gd name="connsiteY4" fmla="*/ 1241353 h 1332161"/>
                <a:gd name="connsiteX5" fmla="*/ 627333 w 1435843"/>
                <a:gd name="connsiteY5" fmla="*/ 1331025 h 1332161"/>
                <a:gd name="connsiteX6" fmla="*/ 923209 w 1435843"/>
                <a:gd name="connsiteY6" fmla="*/ 1185233 h 1332161"/>
                <a:gd name="connsiteX7" fmla="*/ 1306268 w 1435843"/>
                <a:gd name="connsiteY7" fmla="*/ 863957 h 1332161"/>
                <a:gd name="connsiteX8" fmla="*/ 1435843 w 1435843"/>
                <a:gd name="connsiteY8" fmla="*/ 623172 h 1332161"/>
                <a:gd name="connsiteX9" fmla="*/ 1306268 w 1435843"/>
                <a:gd name="connsiteY9" fmla="*/ 332617 h 1332161"/>
                <a:gd name="connsiteX10" fmla="*/ 997349 w 1435843"/>
                <a:gd name="connsiteY10" fmla="*/ 73125 h 1332161"/>
                <a:gd name="connsiteX11" fmla="*/ 688430 w 1435843"/>
                <a:gd name="connsiteY11" fmla="*/ 11341 h 1332161"/>
                <a:gd name="connsiteX12" fmla="*/ 295975 w 1435843"/>
                <a:gd name="connsiteY12" fmla="*/ 264589 h 1332161"/>
                <a:gd name="connsiteX0" fmla="*/ 305371 w 1435847"/>
                <a:gd name="connsiteY0" fmla="*/ 258622 h 1332307"/>
                <a:gd name="connsiteX1" fmla="*/ 58236 w 1435847"/>
                <a:gd name="connsiteY1" fmla="*/ 505757 h 1332307"/>
                <a:gd name="connsiteX2" fmla="*/ 8809 w 1435847"/>
                <a:gd name="connsiteY2" fmla="*/ 789963 h 1332307"/>
                <a:gd name="connsiteX3" fmla="*/ 194160 w 1435847"/>
                <a:gd name="connsiteY3" fmla="*/ 1037098 h 1332307"/>
                <a:gd name="connsiteX4" fmla="*/ 409888 w 1435847"/>
                <a:gd name="connsiteY4" fmla="*/ 1241499 h 1332307"/>
                <a:gd name="connsiteX5" fmla="*/ 627333 w 1435847"/>
                <a:gd name="connsiteY5" fmla="*/ 1331171 h 1332307"/>
                <a:gd name="connsiteX6" fmla="*/ 923209 w 1435847"/>
                <a:gd name="connsiteY6" fmla="*/ 1185379 h 1332307"/>
                <a:gd name="connsiteX7" fmla="*/ 1306268 w 1435847"/>
                <a:gd name="connsiteY7" fmla="*/ 864103 h 1332307"/>
                <a:gd name="connsiteX8" fmla="*/ 1435843 w 1435847"/>
                <a:gd name="connsiteY8" fmla="*/ 623318 h 1332307"/>
                <a:gd name="connsiteX9" fmla="*/ 1303093 w 1435847"/>
                <a:gd name="connsiteY9" fmla="*/ 339113 h 1332307"/>
                <a:gd name="connsiteX10" fmla="*/ 997349 w 1435847"/>
                <a:gd name="connsiteY10" fmla="*/ 73271 h 1332307"/>
                <a:gd name="connsiteX11" fmla="*/ 688430 w 1435847"/>
                <a:gd name="connsiteY11" fmla="*/ 11487 h 1332307"/>
                <a:gd name="connsiteX12" fmla="*/ 295975 w 1435847"/>
                <a:gd name="connsiteY12" fmla="*/ 264735 h 1332307"/>
                <a:gd name="connsiteX0" fmla="*/ 305371 w 1435847"/>
                <a:gd name="connsiteY0" fmla="*/ 257598 h 1331283"/>
                <a:gd name="connsiteX1" fmla="*/ 58236 w 1435847"/>
                <a:gd name="connsiteY1" fmla="*/ 504733 h 1331283"/>
                <a:gd name="connsiteX2" fmla="*/ 8809 w 1435847"/>
                <a:gd name="connsiteY2" fmla="*/ 788939 h 1331283"/>
                <a:gd name="connsiteX3" fmla="*/ 194160 w 1435847"/>
                <a:gd name="connsiteY3" fmla="*/ 1036074 h 1331283"/>
                <a:gd name="connsiteX4" fmla="*/ 409888 w 1435847"/>
                <a:gd name="connsiteY4" fmla="*/ 1240475 h 1331283"/>
                <a:gd name="connsiteX5" fmla="*/ 627333 w 1435847"/>
                <a:gd name="connsiteY5" fmla="*/ 1330147 h 1331283"/>
                <a:gd name="connsiteX6" fmla="*/ 923209 w 1435847"/>
                <a:gd name="connsiteY6" fmla="*/ 1184355 h 1331283"/>
                <a:gd name="connsiteX7" fmla="*/ 1306268 w 1435847"/>
                <a:gd name="connsiteY7" fmla="*/ 863079 h 1331283"/>
                <a:gd name="connsiteX8" fmla="*/ 1435843 w 1435847"/>
                <a:gd name="connsiteY8" fmla="*/ 622294 h 1331283"/>
                <a:gd name="connsiteX9" fmla="*/ 1303093 w 1435847"/>
                <a:gd name="connsiteY9" fmla="*/ 338089 h 1331283"/>
                <a:gd name="connsiteX10" fmla="*/ 1016399 w 1435847"/>
                <a:gd name="connsiteY10" fmla="*/ 77010 h 1331283"/>
                <a:gd name="connsiteX11" fmla="*/ 688430 w 1435847"/>
                <a:gd name="connsiteY11" fmla="*/ 10463 h 1331283"/>
                <a:gd name="connsiteX12" fmla="*/ 295975 w 1435847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16399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36043" h="1331283">
                  <a:moveTo>
                    <a:pt x="305371" y="257598"/>
                  </a:moveTo>
                  <a:cubicBezTo>
                    <a:pt x="206517" y="336887"/>
                    <a:pt x="107663" y="416176"/>
                    <a:pt x="58236" y="504733"/>
                  </a:cubicBezTo>
                  <a:cubicBezTo>
                    <a:pt x="8809" y="593290"/>
                    <a:pt x="-13845" y="700382"/>
                    <a:pt x="8809" y="788939"/>
                  </a:cubicBezTo>
                  <a:cubicBezTo>
                    <a:pt x="31463" y="877496"/>
                    <a:pt x="127313" y="960818"/>
                    <a:pt x="194160" y="1036074"/>
                  </a:cubicBezTo>
                  <a:cubicBezTo>
                    <a:pt x="261007" y="1111330"/>
                    <a:pt x="337692" y="1191463"/>
                    <a:pt x="409888" y="1240475"/>
                  </a:cubicBezTo>
                  <a:cubicBezTo>
                    <a:pt x="482084" y="1289487"/>
                    <a:pt x="541780" y="1339500"/>
                    <a:pt x="627333" y="1330147"/>
                  </a:cubicBezTo>
                  <a:cubicBezTo>
                    <a:pt x="712886" y="1320794"/>
                    <a:pt x="810053" y="1262200"/>
                    <a:pt x="923209" y="1184355"/>
                  </a:cubicBezTo>
                  <a:cubicBezTo>
                    <a:pt x="1036365" y="1106510"/>
                    <a:pt x="1220829" y="956756"/>
                    <a:pt x="1306268" y="863079"/>
                  </a:cubicBezTo>
                  <a:cubicBezTo>
                    <a:pt x="1391707" y="769402"/>
                    <a:pt x="1439547" y="709792"/>
                    <a:pt x="1435843" y="622294"/>
                  </a:cubicBezTo>
                  <a:cubicBezTo>
                    <a:pt x="1432139" y="534796"/>
                    <a:pt x="1379351" y="452783"/>
                    <a:pt x="1284043" y="338089"/>
                  </a:cubicBezTo>
                  <a:cubicBezTo>
                    <a:pt x="1188735" y="223395"/>
                    <a:pt x="1106143" y="131614"/>
                    <a:pt x="1006874" y="77010"/>
                  </a:cubicBezTo>
                  <a:cubicBezTo>
                    <a:pt x="907605" y="22406"/>
                    <a:pt x="806913" y="-20654"/>
                    <a:pt x="688430" y="10463"/>
                  </a:cubicBezTo>
                  <a:cubicBezTo>
                    <a:pt x="569947" y="41580"/>
                    <a:pt x="455583" y="140143"/>
                    <a:pt x="295975" y="263711"/>
                  </a:cubicBezTo>
                </a:path>
              </a:pathLst>
            </a:custGeom>
            <a:solidFill>
              <a:srgbClr val="92D050"/>
            </a:solidFill>
            <a:ln w="571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endParaRPr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DC73BF30-E849-4346-88E9-3FA555E9E0E0}"/>
                </a:ext>
              </a:extLst>
            </p:cNvPr>
            <p:cNvSpPr/>
            <p:nvPr userDrawn="1"/>
          </p:nvSpPr>
          <p:spPr>
            <a:xfrm>
              <a:off x="9534582" y="280764"/>
              <a:ext cx="684186" cy="631034"/>
            </a:xfrm>
            <a:custGeom>
              <a:avLst/>
              <a:gdLst>
                <a:gd name="connsiteX0" fmla="*/ 305371 w 1442193"/>
                <a:gd name="connsiteY0" fmla="*/ 260653 h 1311522"/>
                <a:gd name="connsiteX1" fmla="*/ 58236 w 1442193"/>
                <a:gd name="connsiteY1" fmla="*/ 507788 h 1311522"/>
                <a:gd name="connsiteX2" fmla="*/ 8809 w 1442193"/>
                <a:gd name="connsiteY2" fmla="*/ 791994 h 1311522"/>
                <a:gd name="connsiteX3" fmla="*/ 194160 w 1442193"/>
                <a:gd name="connsiteY3" fmla="*/ 1039129 h 1311522"/>
                <a:gd name="connsiteX4" fmla="*/ 428938 w 1442193"/>
                <a:gd name="connsiteY4" fmla="*/ 1224480 h 1311522"/>
                <a:gd name="connsiteX5" fmla="*/ 601933 w 1442193"/>
                <a:gd name="connsiteY5" fmla="*/ 1310977 h 1311522"/>
                <a:gd name="connsiteX6" fmla="*/ 923209 w 1442193"/>
                <a:gd name="connsiteY6" fmla="*/ 1187410 h 1311522"/>
                <a:gd name="connsiteX7" fmla="*/ 1306268 w 1442193"/>
                <a:gd name="connsiteY7" fmla="*/ 866134 h 1311522"/>
                <a:gd name="connsiteX8" fmla="*/ 1442193 w 1442193"/>
                <a:gd name="connsiteY8" fmla="*/ 618999 h 1311522"/>
                <a:gd name="connsiteX9" fmla="*/ 1306268 w 1442193"/>
                <a:gd name="connsiteY9" fmla="*/ 334794 h 1311522"/>
                <a:gd name="connsiteX10" fmla="*/ 997349 w 1442193"/>
                <a:gd name="connsiteY10" fmla="*/ 75302 h 1311522"/>
                <a:gd name="connsiteX11" fmla="*/ 688430 w 1442193"/>
                <a:gd name="connsiteY11" fmla="*/ 13518 h 1311522"/>
                <a:gd name="connsiteX12" fmla="*/ 243587 w 1442193"/>
                <a:gd name="connsiteY12" fmla="*/ 297723 h 1311522"/>
                <a:gd name="connsiteX0" fmla="*/ 305371 w 1442193"/>
                <a:gd name="connsiteY0" fmla="*/ 260653 h 1312626"/>
                <a:gd name="connsiteX1" fmla="*/ 58236 w 1442193"/>
                <a:gd name="connsiteY1" fmla="*/ 507788 h 1312626"/>
                <a:gd name="connsiteX2" fmla="*/ 8809 w 1442193"/>
                <a:gd name="connsiteY2" fmla="*/ 791994 h 1312626"/>
                <a:gd name="connsiteX3" fmla="*/ 194160 w 1442193"/>
                <a:gd name="connsiteY3" fmla="*/ 1039129 h 1312626"/>
                <a:gd name="connsiteX4" fmla="*/ 409888 w 1442193"/>
                <a:gd name="connsiteY4" fmla="*/ 1243530 h 1312626"/>
                <a:gd name="connsiteX5" fmla="*/ 601933 w 1442193"/>
                <a:gd name="connsiteY5" fmla="*/ 1310977 h 1312626"/>
                <a:gd name="connsiteX6" fmla="*/ 923209 w 1442193"/>
                <a:gd name="connsiteY6" fmla="*/ 1187410 h 1312626"/>
                <a:gd name="connsiteX7" fmla="*/ 1306268 w 1442193"/>
                <a:gd name="connsiteY7" fmla="*/ 866134 h 1312626"/>
                <a:gd name="connsiteX8" fmla="*/ 1442193 w 1442193"/>
                <a:gd name="connsiteY8" fmla="*/ 618999 h 1312626"/>
                <a:gd name="connsiteX9" fmla="*/ 1306268 w 1442193"/>
                <a:gd name="connsiteY9" fmla="*/ 334794 h 1312626"/>
                <a:gd name="connsiteX10" fmla="*/ 997349 w 1442193"/>
                <a:gd name="connsiteY10" fmla="*/ 75302 h 1312626"/>
                <a:gd name="connsiteX11" fmla="*/ 688430 w 1442193"/>
                <a:gd name="connsiteY11" fmla="*/ 13518 h 1312626"/>
                <a:gd name="connsiteX12" fmla="*/ 243587 w 1442193"/>
                <a:gd name="connsiteY12" fmla="*/ 297723 h 1312626"/>
                <a:gd name="connsiteX0" fmla="*/ 305371 w 1442193"/>
                <a:gd name="connsiteY0" fmla="*/ 260821 h 1312794"/>
                <a:gd name="connsiteX1" fmla="*/ 58236 w 1442193"/>
                <a:gd name="connsiteY1" fmla="*/ 507956 h 1312794"/>
                <a:gd name="connsiteX2" fmla="*/ 8809 w 1442193"/>
                <a:gd name="connsiteY2" fmla="*/ 792162 h 1312794"/>
                <a:gd name="connsiteX3" fmla="*/ 194160 w 1442193"/>
                <a:gd name="connsiteY3" fmla="*/ 1039297 h 1312794"/>
                <a:gd name="connsiteX4" fmla="*/ 409888 w 1442193"/>
                <a:gd name="connsiteY4" fmla="*/ 1243698 h 1312794"/>
                <a:gd name="connsiteX5" fmla="*/ 601933 w 1442193"/>
                <a:gd name="connsiteY5" fmla="*/ 1311145 h 1312794"/>
                <a:gd name="connsiteX6" fmla="*/ 923209 w 1442193"/>
                <a:gd name="connsiteY6" fmla="*/ 1187578 h 1312794"/>
                <a:gd name="connsiteX7" fmla="*/ 1306268 w 1442193"/>
                <a:gd name="connsiteY7" fmla="*/ 866302 h 1312794"/>
                <a:gd name="connsiteX8" fmla="*/ 1442193 w 1442193"/>
                <a:gd name="connsiteY8" fmla="*/ 619167 h 1312794"/>
                <a:gd name="connsiteX9" fmla="*/ 1306268 w 1442193"/>
                <a:gd name="connsiteY9" fmla="*/ 334962 h 1312794"/>
                <a:gd name="connsiteX10" fmla="*/ 997349 w 1442193"/>
                <a:gd name="connsiteY10" fmla="*/ 75470 h 1312794"/>
                <a:gd name="connsiteX11" fmla="*/ 688430 w 1442193"/>
                <a:gd name="connsiteY11" fmla="*/ 13686 h 1312794"/>
                <a:gd name="connsiteX12" fmla="*/ 260256 w 1442193"/>
                <a:gd name="connsiteY12" fmla="*/ 300272 h 1312794"/>
                <a:gd name="connsiteX0" fmla="*/ 305371 w 1442193"/>
                <a:gd name="connsiteY0" fmla="*/ 260654 h 1312627"/>
                <a:gd name="connsiteX1" fmla="*/ 58236 w 1442193"/>
                <a:gd name="connsiteY1" fmla="*/ 507789 h 1312627"/>
                <a:gd name="connsiteX2" fmla="*/ 8809 w 1442193"/>
                <a:gd name="connsiteY2" fmla="*/ 791995 h 1312627"/>
                <a:gd name="connsiteX3" fmla="*/ 194160 w 1442193"/>
                <a:gd name="connsiteY3" fmla="*/ 1039130 h 1312627"/>
                <a:gd name="connsiteX4" fmla="*/ 409888 w 1442193"/>
                <a:gd name="connsiteY4" fmla="*/ 1243531 h 1312627"/>
                <a:gd name="connsiteX5" fmla="*/ 601933 w 1442193"/>
                <a:gd name="connsiteY5" fmla="*/ 1310978 h 1312627"/>
                <a:gd name="connsiteX6" fmla="*/ 923209 w 1442193"/>
                <a:gd name="connsiteY6" fmla="*/ 1187411 h 1312627"/>
                <a:gd name="connsiteX7" fmla="*/ 1306268 w 1442193"/>
                <a:gd name="connsiteY7" fmla="*/ 866135 h 1312627"/>
                <a:gd name="connsiteX8" fmla="*/ 1442193 w 1442193"/>
                <a:gd name="connsiteY8" fmla="*/ 619000 h 1312627"/>
                <a:gd name="connsiteX9" fmla="*/ 1306268 w 1442193"/>
                <a:gd name="connsiteY9" fmla="*/ 334795 h 1312627"/>
                <a:gd name="connsiteX10" fmla="*/ 997349 w 1442193"/>
                <a:gd name="connsiteY10" fmla="*/ 75303 h 1312627"/>
                <a:gd name="connsiteX11" fmla="*/ 688430 w 1442193"/>
                <a:gd name="connsiteY11" fmla="*/ 13519 h 1312627"/>
                <a:gd name="connsiteX12" fmla="*/ 253112 w 1442193"/>
                <a:gd name="connsiteY12" fmla="*/ 297723 h 1312627"/>
                <a:gd name="connsiteX0" fmla="*/ 305371 w 1442193"/>
                <a:gd name="connsiteY0" fmla="*/ 257812 h 1309785"/>
                <a:gd name="connsiteX1" fmla="*/ 58236 w 1442193"/>
                <a:gd name="connsiteY1" fmla="*/ 504947 h 1309785"/>
                <a:gd name="connsiteX2" fmla="*/ 8809 w 1442193"/>
                <a:gd name="connsiteY2" fmla="*/ 789153 h 1309785"/>
                <a:gd name="connsiteX3" fmla="*/ 194160 w 1442193"/>
                <a:gd name="connsiteY3" fmla="*/ 1036288 h 1309785"/>
                <a:gd name="connsiteX4" fmla="*/ 409888 w 1442193"/>
                <a:gd name="connsiteY4" fmla="*/ 1240689 h 1309785"/>
                <a:gd name="connsiteX5" fmla="*/ 601933 w 1442193"/>
                <a:gd name="connsiteY5" fmla="*/ 1308136 h 1309785"/>
                <a:gd name="connsiteX6" fmla="*/ 923209 w 1442193"/>
                <a:gd name="connsiteY6" fmla="*/ 1184569 h 1309785"/>
                <a:gd name="connsiteX7" fmla="*/ 1306268 w 1442193"/>
                <a:gd name="connsiteY7" fmla="*/ 863293 h 1309785"/>
                <a:gd name="connsiteX8" fmla="*/ 1442193 w 1442193"/>
                <a:gd name="connsiteY8" fmla="*/ 616158 h 1309785"/>
                <a:gd name="connsiteX9" fmla="*/ 1306268 w 1442193"/>
                <a:gd name="connsiteY9" fmla="*/ 331953 h 1309785"/>
                <a:gd name="connsiteX10" fmla="*/ 997349 w 1442193"/>
                <a:gd name="connsiteY10" fmla="*/ 72461 h 1309785"/>
                <a:gd name="connsiteX11" fmla="*/ 688430 w 1442193"/>
                <a:gd name="connsiteY11" fmla="*/ 10677 h 1309785"/>
                <a:gd name="connsiteX12" fmla="*/ 295974 w 1442193"/>
                <a:gd name="connsiteY12" fmla="*/ 254400 h 1309785"/>
                <a:gd name="connsiteX0" fmla="*/ 305371 w 1442193"/>
                <a:gd name="connsiteY0" fmla="*/ 257812 h 1309785"/>
                <a:gd name="connsiteX1" fmla="*/ 58236 w 1442193"/>
                <a:gd name="connsiteY1" fmla="*/ 504947 h 1309785"/>
                <a:gd name="connsiteX2" fmla="*/ 8809 w 1442193"/>
                <a:gd name="connsiteY2" fmla="*/ 789153 h 1309785"/>
                <a:gd name="connsiteX3" fmla="*/ 194160 w 1442193"/>
                <a:gd name="connsiteY3" fmla="*/ 1036288 h 1309785"/>
                <a:gd name="connsiteX4" fmla="*/ 409888 w 1442193"/>
                <a:gd name="connsiteY4" fmla="*/ 1240689 h 1309785"/>
                <a:gd name="connsiteX5" fmla="*/ 601933 w 1442193"/>
                <a:gd name="connsiteY5" fmla="*/ 1308136 h 1309785"/>
                <a:gd name="connsiteX6" fmla="*/ 923209 w 1442193"/>
                <a:gd name="connsiteY6" fmla="*/ 1184569 h 1309785"/>
                <a:gd name="connsiteX7" fmla="*/ 1306268 w 1442193"/>
                <a:gd name="connsiteY7" fmla="*/ 863293 h 1309785"/>
                <a:gd name="connsiteX8" fmla="*/ 1442193 w 1442193"/>
                <a:gd name="connsiteY8" fmla="*/ 616158 h 1309785"/>
                <a:gd name="connsiteX9" fmla="*/ 1306268 w 1442193"/>
                <a:gd name="connsiteY9" fmla="*/ 331953 h 1309785"/>
                <a:gd name="connsiteX10" fmla="*/ 997349 w 1442193"/>
                <a:gd name="connsiteY10" fmla="*/ 72461 h 1309785"/>
                <a:gd name="connsiteX11" fmla="*/ 688430 w 1442193"/>
                <a:gd name="connsiteY11" fmla="*/ 10677 h 1309785"/>
                <a:gd name="connsiteX12" fmla="*/ 307881 w 1442193"/>
                <a:gd name="connsiteY12" fmla="*/ 254400 h 1309785"/>
                <a:gd name="connsiteX0" fmla="*/ 305371 w 1442193"/>
                <a:gd name="connsiteY0" fmla="*/ 258143 h 1310116"/>
                <a:gd name="connsiteX1" fmla="*/ 58236 w 1442193"/>
                <a:gd name="connsiteY1" fmla="*/ 505278 h 1310116"/>
                <a:gd name="connsiteX2" fmla="*/ 8809 w 1442193"/>
                <a:gd name="connsiteY2" fmla="*/ 789484 h 1310116"/>
                <a:gd name="connsiteX3" fmla="*/ 194160 w 1442193"/>
                <a:gd name="connsiteY3" fmla="*/ 1036619 h 1310116"/>
                <a:gd name="connsiteX4" fmla="*/ 409888 w 1442193"/>
                <a:gd name="connsiteY4" fmla="*/ 1241020 h 1310116"/>
                <a:gd name="connsiteX5" fmla="*/ 601933 w 1442193"/>
                <a:gd name="connsiteY5" fmla="*/ 1308467 h 1310116"/>
                <a:gd name="connsiteX6" fmla="*/ 923209 w 1442193"/>
                <a:gd name="connsiteY6" fmla="*/ 1184900 h 1310116"/>
                <a:gd name="connsiteX7" fmla="*/ 1306268 w 1442193"/>
                <a:gd name="connsiteY7" fmla="*/ 863624 h 1310116"/>
                <a:gd name="connsiteX8" fmla="*/ 1442193 w 1442193"/>
                <a:gd name="connsiteY8" fmla="*/ 616489 h 1310116"/>
                <a:gd name="connsiteX9" fmla="*/ 1306268 w 1442193"/>
                <a:gd name="connsiteY9" fmla="*/ 332284 h 1310116"/>
                <a:gd name="connsiteX10" fmla="*/ 997349 w 1442193"/>
                <a:gd name="connsiteY10" fmla="*/ 72792 h 1310116"/>
                <a:gd name="connsiteX11" fmla="*/ 688430 w 1442193"/>
                <a:gd name="connsiteY11" fmla="*/ 11008 h 1310116"/>
                <a:gd name="connsiteX12" fmla="*/ 298356 w 1442193"/>
                <a:gd name="connsiteY12" fmla="*/ 259493 h 1310116"/>
                <a:gd name="connsiteX0" fmla="*/ 305371 w 1442193"/>
                <a:gd name="connsiteY0" fmla="*/ 258476 h 1310449"/>
                <a:gd name="connsiteX1" fmla="*/ 58236 w 1442193"/>
                <a:gd name="connsiteY1" fmla="*/ 505611 h 1310449"/>
                <a:gd name="connsiteX2" fmla="*/ 8809 w 1442193"/>
                <a:gd name="connsiteY2" fmla="*/ 789817 h 1310449"/>
                <a:gd name="connsiteX3" fmla="*/ 194160 w 1442193"/>
                <a:gd name="connsiteY3" fmla="*/ 1036952 h 1310449"/>
                <a:gd name="connsiteX4" fmla="*/ 409888 w 1442193"/>
                <a:gd name="connsiteY4" fmla="*/ 1241353 h 1310449"/>
                <a:gd name="connsiteX5" fmla="*/ 601933 w 1442193"/>
                <a:gd name="connsiteY5" fmla="*/ 1308800 h 1310449"/>
                <a:gd name="connsiteX6" fmla="*/ 923209 w 1442193"/>
                <a:gd name="connsiteY6" fmla="*/ 1185233 h 1310449"/>
                <a:gd name="connsiteX7" fmla="*/ 1306268 w 1442193"/>
                <a:gd name="connsiteY7" fmla="*/ 863957 h 1310449"/>
                <a:gd name="connsiteX8" fmla="*/ 1442193 w 1442193"/>
                <a:gd name="connsiteY8" fmla="*/ 616822 h 1310449"/>
                <a:gd name="connsiteX9" fmla="*/ 1306268 w 1442193"/>
                <a:gd name="connsiteY9" fmla="*/ 332617 h 1310449"/>
                <a:gd name="connsiteX10" fmla="*/ 997349 w 1442193"/>
                <a:gd name="connsiteY10" fmla="*/ 73125 h 1310449"/>
                <a:gd name="connsiteX11" fmla="*/ 688430 w 1442193"/>
                <a:gd name="connsiteY11" fmla="*/ 11341 h 1310449"/>
                <a:gd name="connsiteX12" fmla="*/ 295975 w 1442193"/>
                <a:gd name="connsiteY12" fmla="*/ 264589 h 1310449"/>
                <a:gd name="connsiteX0" fmla="*/ 305371 w 1442193"/>
                <a:gd name="connsiteY0" fmla="*/ 258476 h 1332161"/>
                <a:gd name="connsiteX1" fmla="*/ 58236 w 1442193"/>
                <a:gd name="connsiteY1" fmla="*/ 505611 h 1332161"/>
                <a:gd name="connsiteX2" fmla="*/ 8809 w 1442193"/>
                <a:gd name="connsiteY2" fmla="*/ 789817 h 1332161"/>
                <a:gd name="connsiteX3" fmla="*/ 194160 w 1442193"/>
                <a:gd name="connsiteY3" fmla="*/ 1036952 h 1332161"/>
                <a:gd name="connsiteX4" fmla="*/ 409888 w 1442193"/>
                <a:gd name="connsiteY4" fmla="*/ 1241353 h 1332161"/>
                <a:gd name="connsiteX5" fmla="*/ 627333 w 1442193"/>
                <a:gd name="connsiteY5" fmla="*/ 1331025 h 1332161"/>
                <a:gd name="connsiteX6" fmla="*/ 923209 w 1442193"/>
                <a:gd name="connsiteY6" fmla="*/ 1185233 h 1332161"/>
                <a:gd name="connsiteX7" fmla="*/ 1306268 w 1442193"/>
                <a:gd name="connsiteY7" fmla="*/ 863957 h 1332161"/>
                <a:gd name="connsiteX8" fmla="*/ 1442193 w 1442193"/>
                <a:gd name="connsiteY8" fmla="*/ 616822 h 1332161"/>
                <a:gd name="connsiteX9" fmla="*/ 1306268 w 1442193"/>
                <a:gd name="connsiteY9" fmla="*/ 332617 h 1332161"/>
                <a:gd name="connsiteX10" fmla="*/ 997349 w 1442193"/>
                <a:gd name="connsiteY10" fmla="*/ 73125 h 1332161"/>
                <a:gd name="connsiteX11" fmla="*/ 688430 w 1442193"/>
                <a:gd name="connsiteY11" fmla="*/ 11341 h 1332161"/>
                <a:gd name="connsiteX12" fmla="*/ 295975 w 1442193"/>
                <a:gd name="connsiteY12" fmla="*/ 264589 h 1332161"/>
                <a:gd name="connsiteX0" fmla="*/ 305371 w 1435843"/>
                <a:gd name="connsiteY0" fmla="*/ 258476 h 1332161"/>
                <a:gd name="connsiteX1" fmla="*/ 58236 w 1435843"/>
                <a:gd name="connsiteY1" fmla="*/ 505611 h 1332161"/>
                <a:gd name="connsiteX2" fmla="*/ 8809 w 1435843"/>
                <a:gd name="connsiteY2" fmla="*/ 789817 h 1332161"/>
                <a:gd name="connsiteX3" fmla="*/ 194160 w 1435843"/>
                <a:gd name="connsiteY3" fmla="*/ 1036952 h 1332161"/>
                <a:gd name="connsiteX4" fmla="*/ 409888 w 1435843"/>
                <a:gd name="connsiteY4" fmla="*/ 1241353 h 1332161"/>
                <a:gd name="connsiteX5" fmla="*/ 627333 w 1435843"/>
                <a:gd name="connsiteY5" fmla="*/ 1331025 h 1332161"/>
                <a:gd name="connsiteX6" fmla="*/ 923209 w 1435843"/>
                <a:gd name="connsiteY6" fmla="*/ 1185233 h 1332161"/>
                <a:gd name="connsiteX7" fmla="*/ 1306268 w 1435843"/>
                <a:gd name="connsiteY7" fmla="*/ 863957 h 1332161"/>
                <a:gd name="connsiteX8" fmla="*/ 1435843 w 1435843"/>
                <a:gd name="connsiteY8" fmla="*/ 623172 h 1332161"/>
                <a:gd name="connsiteX9" fmla="*/ 1306268 w 1435843"/>
                <a:gd name="connsiteY9" fmla="*/ 332617 h 1332161"/>
                <a:gd name="connsiteX10" fmla="*/ 997349 w 1435843"/>
                <a:gd name="connsiteY10" fmla="*/ 73125 h 1332161"/>
                <a:gd name="connsiteX11" fmla="*/ 688430 w 1435843"/>
                <a:gd name="connsiteY11" fmla="*/ 11341 h 1332161"/>
                <a:gd name="connsiteX12" fmla="*/ 295975 w 1435843"/>
                <a:gd name="connsiteY12" fmla="*/ 264589 h 1332161"/>
                <a:gd name="connsiteX0" fmla="*/ 305371 w 1435847"/>
                <a:gd name="connsiteY0" fmla="*/ 258622 h 1332307"/>
                <a:gd name="connsiteX1" fmla="*/ 58236 w 1435847"/>
                <a:gd name="connsiteY1" fmla="*/ 505757 h 1332307"/>
                <a:gd name="connsiteX2" fmla="*/ 8809 w 1435847"/>
                <a:gd name="connsiteY2" fmla="*/ 789963 h 1332307"/>
                <a:gd name="connsiteX3" fmla="*/ 194160 w 1435847"/>
                <a:gd name="connsiteY3" fmla="*/ 1037098 h 1332307"/>
                <a:gd name="connsiteX4" fmla="*/ 409888 w 1435847"/>
                <a:gd name="connsiteY4" fmla="*/ 1241499 h 1332307"/>
                <a:gd name="connsiteX5" fmla="*/ 627333 w 1435847"/>
                <a:gd name="connsiteY5" fmla="*/ 1331171 h 1332307"/>
                <a:gd name="connsiteX6" fmla="*/ 923209 w 1435847"/>
                <a:gd name="connsiteY6" fmla="*/ 1185379 h 1332307"/>
                <a:gd name="connsiteX7" fmla="*/ 1306268 w 1435847"/>
                <a:gd name="connsiteY7" fmla="*/ 864103 h 1332307"/>
                <a:gd name="connsiteX8" fmla="*/ 1435843 w 1435847"/>
                <a:gd name="connsiteY8" fmla="*/ 623318 h 1332307"/>
                <a:gd name="connsiteX9" fmla="*/ 1303093 w 1435847"/>
                <a:gd name="connsiteY9" fmla="*/ 339113 h 1332307"/>
                <a:gd name="connsiteX10" fmla="*/ 997349 w 1435847"/>
                <a:gd name="connsiteY10" fmla="*/ 73271 h 1332307"/>
                <a:gd name="connsiteX11" fmla="*/ 688430 w 1435847"/>
                <a:gd name="connsiteY11" fmla="*/ 11487 h 1332307"/>
                <a:gd name="connsiteX12" fmla="*/ 295975 w 1435847"/>
                <a:gd name="connsiteY12" fmla="*/ 264735 h 1332307"/>
                <a:gd name="connsiteX0" fmla="*/ 305371 w 1435847"/>
                <a:gd name="connsiteY0" fmla="*/ 257598 h 1331283"/>
                <a:gd name="connsiteX1" fmla="*/ 58236 w 1435847"/>
                <a:gd name="connsiteY1" fmla="*/ 504733 h 1331283"/>
                <a:gd name="connsiteX2" fmla="*/ 8809 w 1435847"/>
                <a:gd name="connsiteY2" fmla="*/ 788939 h 1331283"/>
                <a:gd name="connsiteX3" fmla="*/ 194160 w 1435847"/>
                <a:gd name="connsiteY3" fmla="*/ 1036074 h 1331283"/>
                <a:gd name="connsiteX4" fmla="*/ 409888 w 1435847"/>
                <a:gd name="connsiteY4" fmla="*/ 1240475 h 1331283"/>
                <a:gd name="connsiteX5" fmla="*/ 627333 w 1435847"/>
                <a:gd name="connsiteY5" fmla="*/ 1330147 h 1331283"/>
                <a:gd name="connsiteX6" fmla="*/ 923209 w 1435847"/>
                <a:gd name="connsiteY6" fmla="*/ 1184355 h 1331283"/>
                <a:gd name="connsiteX7" fmla="*/ 1306268 w 1435847"/>
                <a:gd name="connsiteY7" fmla="*/ 863079 h 1331283"/>
                <a:gd name="connsiteX8" fmla="*/ 1435843 w 1435847"/>
                <a:gd name="connsiteY8" fmla="*/ 622294 h 1331283"/>
                <a:gd name="connsiteX9" fmla="*/ 1303093 w 1435847"/>
                <a:gd name="connsiteY9" fmla="*/ 338089 h 1331283"/>
                <a:gd name="connsiteX10" fmla="*/ 1016399 w 1435847"/>
                <a:gd name="connsiteY10" fmla="*/ 77010 h 1331283"/>
                <a:gd name="connsiteX11" fmla="*/ 688430 w 1435847"/>
                <a:gd name="connsiteY11" fmla="*/ 10463 h 1331283"/>
                <a:gd name="connsiteX12" fmla="*/ 295975 w 1435847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16399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  <a:gd name="connsiteX0" fmla="*/ 305371 w 1436043"/>
                <a:gd name="connsiteY0" fmla="*/ 257598 h 1331283"/>
                <a:gd name="connsiteX1" fmla="*/ 58236 w 1436043"/>
                <a:gd name="connsiteY1" fmla="*/ 504733 h 1331283"/>
                <a:gd name="connsiteX2" fmla="*/ 8809 w 1436043"/>
                <a:gd name="connsiteY2" fmla="*/ 788939 h 1331283"/>
                <a:gd name="connsiteX3" fmla="*/ 194160 w 1436043"/>
                <a:gd name="connsiteY3" fmla="*/ 1036074 h 1331283"/>
                <a:gd name="connsiteX4" fmla="*/ 409888 w 1436043"/>
                <a:gd name="connsiteY4" fmla="*/ 1240475 h 1331283"/>
                <a:gd name="connsiteX5" fmla="*/ 627333 w 1436043"/>
                <a:gd name="connsiteY5" fmla="*/ 1330147 h 1331283"/>
                <a:gd name="connsiteX6" fmla="*/ 923209 w 1436043"/>
                <a:gd name="connsiteY6" fmla="*/ 1184355 h 1331283"/>
                <a:gd name="connsiteX7" fmla="*/ 1306268 w 1436043"/>
                <a:gd name="connsiteY7" fmla="*/ 863079 h 1331283"/>
                <a:gd name="connsiteX8" fmla="*/ 1435843 w 1436043"/>
                <a:gd name="connsiteY8" fmla="*/ 622294 h 1331283"/>
                <a:gd name="connsiteX9" fmla="*/ 1284043 w 1436043"/>
                <a:gd name="connsiteY9" fmla="*/ 338089 h 1331283"/>
                <a:gd name="connsiteX10" fmla="*/ 1006874 w 1436043"/>
                <a:gd name="connsiteY10" fmla="*/ 77010 h 1331283"/>
                <a:gd name="connsiteX11" fmla="*/ 688430 w 1436043"/>
                <a:gd name="connsiteY11" fmla="*/ 10463 h 1331283"/>
                <a:gd name="connsiteX12" fmla="*/ 295975 w 1436043"/>
                <a:gd name="connsiteY12" fmla="*/ 263711 h 1331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36043" h="1331283">
                  <a:moveTo>
                    <a:pt x="305371" y="257598"/>
                  </a:moveTo>
                  <a:cubicBezTo>
                    <a:pt x="206517" y="336887"/>
                    <a:pt x="107663" y="416176"/>
                    <a:pt x="58236" y="504733"/>
                  </a:cubicBezTo>
                  <a:cubicBezTo>
                    <a:pt x="8809" y="593290"/>
                    <a:pt x="-13845" y="700382"/>
                    <a:pt x="8809" y="788939"/>
                  </a:cubicBezTo>
                  <a:cubicBezTo>
                    <a:pt x="31463" y="877496"/>
                    <a:pt x="127313" y="960818"/>
                    <a:pt x="194160" y="1036074"/>
                  </a:cubicBezTo>
                  <a:cubicBezTo>
                    <a:pt x="261007" y="1111330"/>
                    <a:pt x="337692" y="1191463"/>
                    <a:pt x="409888" y="1240475"/>
                  </a:cubicBezTo>
                  <a:cubicBezTo>
                    <a:pt x="482084" y="1289487"/>
                    <a:pt x="541780" y="1339500"/>
                    <a:pt x="627333" y="1330147"/>
                  </a:cubicBezTo>
                  <a:cubicBezTo>
                    <a:pt x="712886" y="1320794"/>
                    <a:pt x="810053" y="1262200"/>
                    <a:pt x="923209" y="1184355"/>
                  </a:cubicBezTo>
                  <a:cubicBezTo>
                    <a:pt x="1036365" y="1106510"/>
                    <a:pt x="1220829" y="956756"/>
                    <a:pt x="1306268" y="863079"/>
                  </a:cubicBezTo>
                  <a:cubicBezTo>
                    <a:pt x="1391707" y="769402"/>
                    <a:pt x="1439547" y="709792"/>
                    <a:pt x="1435843" y="622294"/>
                  </a:cubicBezTo>
                  <a:cubicBezTo>
                    <a:pt x="1432139" y="534796"/>
                    <a:pt x="1379351" y="452783"/>
                    <a:pt x="1284043" y="338089"/>
                  </a:cubicBezTo>
                  <a:cubicBezTo>
                    <a:pt x="1188735" y="223395"/>
                    <a:pt x="1106143" y="131614"/>
                    <a:pt x="1006874" y="77010"/>
                  </a:cubicBezTo>
                  <a:cubicBezTo>
                    <a:pt x="907605" y="22406"/>
                    <a:pt x="806913" y="-20654"/>
                    <a:pt x="688430" y="10463"/>
                  </a:cubicBezTo>
                  <a:cubicBezTo>
                    <a:pt x="569947" y="41580"/>
                    <a:pt x="455583" y="140143"/>
                    <a:pt x="295975" y="263711"/>
                  </a:cubicBezTo>
                </a:path>
              </a:pathLst>
            </a:custGeom>
            <a:solidFill>
              <a:srgbClr val="FF8000"/>
            </a:solidFill>
            <a:ln w="57150">
              <a:solidFill>
                <a:srgbClr val="FF8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08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lexo" pitchFamily="50" charset="0"/>
                <a:ea typeface="+mn-ea"/>
                <a:cs typeface="+mn-cs"/>
              </a:endParaRPr>
            </a:p>
          </p:txBody>
        </p:sp>
      </p:grpSp>
      <p:sp>
        <p:nvSpPr>
          <p:cNvPr id="15" name="Marcador de pie de página 14">
            <a:extLst>
              <a:ext uri="{FF2B5EF4-FFF2-40B4-BE49-F238E27FC236}">
                <a16:creationId xmlns:a16="http://schemas.microsoft.com/office/drawing/2014/main" id="{8EEBF165-217D-4F01-B847-98208C3E5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0865" y="6378058"/>
            <a:ext cx="10379884" cy="365125"/>
          </a:xfrm>
        </p:spPr>
        <p:txBody>
          <a:bodyPr/>
          <a:lstStyle>
            <a:lvl1pPr algn="l">
              <a:defRPr sz="72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77739"/>
            <a:endParaRPr lang="es-ES_tradnl">
              <a:solidFill>
                <a:prstClr val="black"/>
              </a:solidFill>
            </a:endParaRPr>
          </a:p>
        </p:txBody>
      </p:sp>
      <p:sp>
        <p:nvSpPr>
          <p:cNvPr id="16" name="Marcador de número de diapositiva 15">
            <a:extLst>
              <a:ext uri="{FF2B5EF4-FFF2-40B4-BE49-F238E27FC236}">
                <a16:creationId xmlns:a16="http://schemas.microsoft.com/office/drawing/2014/main" id="{E99CA0CB-4ACB-40EA-A52C-12B32F20D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814" y="6368600"/>
            <a:ext cx="463662" cy="365125"/>
          </a:xfrm>
        </p:spPr>
        <p:txBody>
          <a:bodyPr/>
          <a:lstStyle>
            <a:lvl1pPr algn="ctr">
              <a:defRPr sz="72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77739"/>
            <a:fld id="{41325116-9077-4A48-8B35-19E31762FCCE}" type="slidenum">
              <a:rPr lang="es-ES_tradnl" smtClean="0">
                <a:solidFill>
                  <a:prstClr val="white"/>
                </a:solidFill>
              </a:rPr>
              <a:pPr defTabSz="877739"/>
              <a:t>‹Nº›</a:t>
            </a:fld>
            <a:endParaRPr lang="es-ES_tradnl">
              <a:solidFill>
                <a:prstClr val="white"/>
              </a:solidFill>
            </a:endParaRPr>
          </a:p>
        </p:txBody>
      </p:sp>
      <p:grpSp>
        <p:nvGrpSpPr>
          <p:cNvPr id="17" name="Group 71">
            <a:extLst>
              <a:ext uri="{FF2B5EF4-FFF2-40B4-BE49-F238E27FC236}">
                <a16:creationId xmlns:a16="http://schemas.microsoft.com/office/drawing/2014/main" id="{C82A8CA4-0694-4D45-A8A0-734A26CC6595}"/>
              </a:ext>
            </a:extLst>
          </p:cNvPr>
          <p:cNvGrpSpPr/>
          <p:nvPr userDrawn="1"/>
        </p:nvGrpSpPr>
        <p:grpSpPr>
          <a:xfrm>
            <a:off x="10618271" y="6451166"/>
            <a:ext cx="748422" cy="199993"/>
            <a:chOff x="4797041" y="952089"/>
            <a:chExt cx="2281238" cy="609599"/>
          </a:xfrm>
        </p:grpSpPr>
        <p:sp>
          <p:nvSpPr>
            <p:cNvPr id="18" name="Freeform 538">
              <a:extLst>
                <a:ext uri="{FF2B5EF4-FFF2-40B4-BE49-F238E27FC236}">
                  <a16:creationId xmlns:a16="http://schemas.microsoft.com/office/drawing/2014/main" id="{0FB71B27-4847-4282-B242-3B63D8E498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539">
              <a:extLst>
                <a:ext uri="{FF2B5EF4-FFF2-40B4-BE49-F238E27FC236}">
                  <a16:creationId xmlns:a16="http://schemas.microsoft.com/office/drawing/2014/main" id="{C78C2F9D-C2E4-4DFB-BAD0-E958FC62A2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540">
              <a:extLst>
                <a:ext uri="{FF2B5EF4-FFF2-40B4-BE49-F238E27FC236}">
                  <a16:creationId xmlns:a16="http://schemas.microsoft.com/office/drawing/2014/main" id="{8F188CB7-7B46-4324-9E98-345A6A084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541">
              <a:extLst>
                <a:ext uri="{FF2B5EF4-FFF2-40B4-BE49-F238E27FC236}">
                  <a16:creationId xmlns:a16="http://schemas.microsoft.com/office/drawing/2014/main" id="{1E15E5D7-E471-40F6-AF3E-485160B793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542">
              <a:extLst>
                <a:ext uri="{FF2B5EF4-FFF2-40B4-BE49-F238E27FC236}">
                  <a16:creationId xmlns:a16="http://schemas.microsoft.com/office/drawing/2014/main" id="{88A8064C-D3C2-40E9-92BD-43129B4F47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543">
              <a:extLst>
                <a:ext uri="{FF2B5EF4-FFF2-40B4-BE49-F238E27FC236}">
                  <a16:creationId xmlns:a16="http://schemas.microsoft.com/office/drawing/2014/main" id="{ACFF6D8C-FD5F-45D0-818B-2134EA37EB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544">
              <a:extLst>
                <a:ext uri="{FF2B5EF4-FFF2-40B4-BE49-F238E27FC236}">
                  <a16:creationId xmlns:a16="http://schemas.microsoft.com/office/drawing/2014/main" id="{DB5E62E8-1BB5-4C54-B510-A30076C6F0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CuadroTexto 25">
            <a:extLst>
              <a:ext uri="{FF2B5EF4-FFF2-40B4-BE49-F238E27FC236}">
                <a16:creationId xmlns:a16="http://schemas.microsoft.com/office/drawing/2014/main" id="{95395731-C6A9-4656-830A-727FF5CAECBF}"/>
              </a:ext>
            </a:extLst>
          </p:cNvPr>
          <p:cNvSpPr txBox="1"/>
          <p:nvPr userDrawn="1"/>
        </p:nvSpPr>
        <p:spPr>
          <a:xfrm>
            <a:off x="-1707726" y="947493"/>
            <a:ext cx="1545769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eta de </a:t>
            </a:r>
            <a:r>
              <a:rPr kumimoji="0" lang="en-US" sz="126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ores</a:t>
            </a:r>
            <a:endParaRPr kumimoji="0" lang="en-US" sz="126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786070EA-263C-4C13-B237-BEA85AE9652A}"/>
              </a:ext>
            </a:extLst>
          </p:cNvPr>
          <p:cNvSpPr/>
          <p:nvPr userDrawn="1"/>
        </p:nvSpPr>
        <p:spPr>
          <a:xfrm>
            <a:off x="-1640090" y="1841685"/>
            <a:ext cx="1429304" cy="572291"/>
          </a:xfrm>
          <a:prstGeom prst="rect">
            <a:avLst/>
          </a:prstGeom>
          <a:solidFill>
            <a:srgbClr val="00B2CE"/>
          </a:solidFill>
          <a:ln w="9525">
            <a:solidFill>
              <a:srgbClr val="00B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0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F663A24A-0251-411F-96DE-3F99DAC31996}"/>
              </a:ext>
            </a:extLst>
          </p:cNvPr>
          <p:cNvSpPr/>
          <p:nvPr userDrawn="1"/>
        </p:nvSpPr>
        <p:spPr>
          <a:xfrm>
            <a:off x="-1640090" y="2414212"/>
            <a:ext cx="1429304" cy="572291"/>
          </a:xfrm>
          <a:prstGeom prst="rect">
            <a:avLst/>
          </a:prstGeom>
          <a:solidFill>
            <a:srgbClr val="FF8000"/>
          </a:solidFill>
          <a:ln w="9525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0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9FAE0F5D-306B-461C-A9B3-BF6F4FDFD6DD}"/>
              </a:ext>
            </a:extLst>
          </p:cNvPr>
          <p:cNvSpPr/>
          <p:nvPr userDrawn="1"/>
        </p:nvSpPr>
        <p:spPr>
          <a:xfrm>
            <a:off x="-1640090" y="2986738"/>
            <a:ext cx="1429304" cy="572291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0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848B6FAF-85AE-4C4A-87C1-7E83E52279DA}"/>
              </a:ext>
            </a:extLst>
          </p:cNvPr>
          <p:cNvSpPr/>
          <p:nvPr userDrawn="1"/>
        </p:nvSpPr>
        <p:spPr>
          <a:xfrm>
            <a:off x="-1640090" y="3559264"/>
            <a:ext cx="1429304" cy="572291"/>
          </a:xfrm>
          <a:prstGeom prst="rect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0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6E4CB4D2-8CB7-4444-A8E7-818533FBD26B}"/>
              </a:ext>
            </a:extLst>
          </p:cNvPr>
          <p:cNvSpPr/>
          <p:nvPr userDrawn="1"/>
        </p:nvSpPr>
        <p:spPr>
          <a:xfrm>
            <a:off x="-1640090" y="4131791"/>
            <a:ext cx="1429304" cy="572291"/>
          </a:xfrm>
          <a:prstGeom prst="rect">
            <a:avLst/>
          </a:prstGeom>
          <a:solidFill>
            <a:srgbClr val="E2007B"/>
          </a:solidFill>
          <a:ln w="9525">
            <a:solidFill>
              <a:srgbClr val="E20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08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1FDD3B58-CCB6-467F-A658-ED6395552633}"/>
              </a:ext>
            </a:extLst>
          </p:cNvPr>
          <p:cNvSpPr/>
          <p:nvPr userDrawn="1"/>
        </p:nvSpPr>
        <p:spPr>
          <a:xfrm>
            <a:off x="-1640090" y="4704318"/>
            <a:ext cx="1429304" cy="57229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0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BB833D99-FC96-4E19-9DDE-3F3E7B0C1AEF}"/>
              </a:ext>
            </a:extLst>
          </p:cNvPr>
          <p:cNvSpPr/>
          <p:nvPr userDrawn="1"/>
        </p:nvSpPr>
        <p:spPr>
          <a:xfrm>
            <a:off x="-1640091" y="1269128"/>
            <a:ext cx="1429304" cy="572291"/>
          </a:xfrm>
          <a:prstGeom prst="rect">
            <a:avLst/>
          </a:prstGeom>
          <a:solidFill>
            <a:srgbClr val="002C71"/>
          </a:solidFill>
          <a:ln w="9525">
            <a:solidFill>
              <a:srgbClr val="012D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79" tIns="41139" rIns="82279" bIns="411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0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4" name="Rectangle 8">
            <a:extLst>
              <a:ext uri="{FF2B5EF4-FFF2-40B4-BE49-F238E27FC236}">
                <a16:creationId xmlns:a16="http://schemas.microsoft.com/office/drawing/2014/main" id="{85BC1083-A11C-4D47-8D57-A67C41B28E94}"/>
              </a:ext>
            </a:extLst>
          </p:cNvPr>
          <p:cNvSpPr/>
          <p:nvPr userDrawn="1"/>
        </p:nvSpPr>
        <p:spPr bwMode="auto">
          <a:xfrm>
            <a:off x="-1640091" y="5276799"/>
            <a:ext cx="1436688" cy="61709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79" tIns="82279" rIns="82279" bIns="82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999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8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Título 46">
            <a:extLst>
              <a:ext uri="{FF2B5EF4-FFF2-40B4-BE49-F238E27FC236}">
                <a16:creationId xmlns:a16="http://schemas.microsoft.com/office/drawing/2014/main" id="{80019F1D-805B-4045-B0DB-38DAC09C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53" y="191426"/>
            <a:ext cx="11750094" cy="582368"/>
          </a:xfrm>
        </p:spPr>
        <p:txBody>
          <a:bodyPr wrap="square">
            <a:noAutofit/>
          </a:bodyPr>
          <a:lstStyle>
            <a:lvl1pPr>
              <a:defRPr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7835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464">
          <p15:clr>
            <a:srgbClr val="FBAE40"/>
          </p15:clr>
        </p15:guide>
        <p15:guide id="2" pos="143">
          <p15:clr>
            <a:srgbClr val="FBAE40"/>
          </p15:clr>
        </p15:guide>
        <p15:guide id="3" pos="7537">
          <p15:clr>
            <a:srgbClr val="FBAE40"/>
          </p15:clr>
        </p15:guide>
        <p15:guide id="4" orient="horz" pos="4714">
          <p15:clr>
            <a:srgbClr val="FBAE40"/>
          </p15:clr>
        </p15:guide>
        <p15:guide id="5" orient="horz" pos="541">
          <p15:clr>
            <a:srgbClr val="FBAE40"/>
          </p15:clr>
        </p15:guide>
        <p15:guide id="6" orient="horz" pos="790">
          <p15:clr>
            <a:srgbClr val="FBAE40"/>
          </p15:clr>
        </p15:guide>
        <p15:guide id="7" orient="horz" pos="397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48196"/>
            <a:ext cx="158698" cy="110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716" b="0" i="0" u="none" strike="noStrike" kern="1200" cap="none" spc="0" normalizeH="0" baseline="0" noProof="0" smtClean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877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16" b="0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6"/>
            <a:ext cx="1231562" cy="82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r" defTabSz="10700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37" b="0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060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tilla_bar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Rectángulo"/>
          <p:cNvSpPr/>
          <p:nvPr userDrawn="1"/>
        </p:nvSpPr>
        <p:spPr>
          <a:xfrm>
            <a:off x="-48682" y="0"/>
            <a:ext cx="163218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30 Rectángulo"/>
          <p:cNvSpPr/>
          <p:nvPr userDrawn="1"/>
        </p:nvSpPr>
        <p:spPr>
          <a:xfrm>
            <a:off x="-48682" y="1"/>
            <a:ext cx="12240683" cy="692696"/>
          </a:xfrm>
          <a:prstGeom prst="rect">
            <a:avLst/>
          </a:prstGeom>
          <a:solidFill>
            <a:srgbClr val="F37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3 Triángulo rectángulo"/>
          <p:cNvSpPr/>
          <p:nvPr userDrawn="1"/>
        </p:nvSpPr>
        <p:spPr>
          <a:xfrm>
            <a:off x="-48682" y="1"/>
            <a:ext cx="960107" cy="692696"/>
          </a:xfrm>
          <a:prstGeom prst="rtTriangle">
            <a:avLst/>
          </a:prstGeom>
          <a:solidFill>
            <a:srgbClr val="004A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23 Triángulo rectángulo"/>
          <p:cNvSpPr/>
          <p:nvPr userDrawn="1"/>
        </p:nvSpPr>
        <p:spPr>
          <a:xfrm flipH="1">
            <a:off x="11231894" y="1"/>
            <a:ext cx="960107" cy="692696"/>
          </a:xfrm>
          <a:prstGeom prst="rtTriangle">
            <a:avLst/>
          </a:prstGeom>
          <a:solidFill>
            <a:srgbClr val="004A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7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34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-48682" y="72009"/>
            <a:ext cx="12240683" cy="260648"/>
          </a:xfrm>
        </p:spPr>
        <p:txBody>
          <a:bodyPr/>
          <a:lstStyle>
            <a:lvl1pPr marL="0" indent="0" algn="ctr">
              <a:buNone/>
              <a:defRPr sz="1500" b="1" baseline="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NOMBRE DEL PROYECTO</a:t>
            </a:r>
          </a:p>
        </p:txBody>
      </p:sp>
      <p:sp>
        <p:nvSpPr>
          <p:cNvPr id="37" name="36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-48682" y="323577"/>
            <a:ext cx="12240683" cy="216024"/>
          </a:xfrm>
        </p:spPr>
        <p:txBody>
          <a:bodyPr/>
          <a:lstStyle>
            <a:lvl1pPr marL="0" indent="0" algn="ctr">
              <a:buNone/>
              <a:defRPr sz="1031" baseline="0">
                <a:solidFill>
                  <a:schemeClr val="bg1"/>
                </a:solidFill>
                <a:latin typeface="Flexo Light" pitchFamily="50" charset="0"/>
              </a:defRPr>
            </a:lvl1pPr>
          </a:lstStyle>
          <a:p>
            <a:pPr lvl="0"/>
            <a:r>
              <a:rPr lang="es-ES"/>
              <a:t>Ingresar objetivo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971800"/>
            <a:ext cx="1487488" cy="914400"/>
          </a:xfrm>
        </p:spPr>
        <p:txBody>
          <a:bodyPr/>
          <a:lstStyle>
            <a:lvl1pPr marL="0" indent="0" algn="ctr">
              <a:buNone/>
              <a:defRPr sz="1500" b="1">
                <a:solidFill>
                  <a:schemeClr val="tx1"/>
                </a:solidFill>
                <a:latin typeface="Flexo Light" pitchFamily="50" charset="0"/>
              </a:defRPr>
            </a:lvl1pPr>
          </a:lstStyle>
          <a:p>
            <a:pPr lvl="0"/>
            <a:r>
              <a:rPr lang="es-PE"/>
              <a:t>TITULO</a:t>
            </a:r>
          </a:p>
        </p:txBody>
      </p:sp>
    </p:spTree>
    <p:extLst>
      <p:ext uri="{BB962C8B-B14F-4D97-AF65-F5344CB8AC3E}">
        <p14:creationId xmlns:p14="http://schemas.microsoft.com/office/powerpoint/2010/main" val="22642876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0712242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450"/>
          <a:stretch/>
        </p:blipFill>
        <p:spPr>
          <a:xfrm>
            <a:off x="2" y="2"/>
            <a:ext cx="12192001" cy="16758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35167"/>
            <a:ext cx="6402943" cy="962465"/>
          </a:xfrm>
        </p:spPr>
        <p:txBody>
          <a:bodyPr>
            <a:normAutofit/>
          </a:bodyPr>
          <a:lstStyle>
            <a:lvl1pPr>
              <a:defRPr sz="2767" b="1" i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77739"/>
            <a:fld id="{BB80D13C-A399-CB4B-9583-FD266A279EE4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/>
              <a:t>23/06/2025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8" y="6099953"/>
            <a:ext cx="1160511" cy="611783"/>
          </a:xfrm>
          <a:prstGeom prst="rect">
            <a:avLst/>
          </a:prstGeom>
        </p:spPr>
      </p:pic>
      <p:pic>
        <p:nvPicPr>
          <p:cNvPr id="8" name="Imagen 3">
            <a:extLst>
              <a:ext uri="{FF2B5EF4-FFF2-40B4-BE49-F238E27FC236}">
                <a16:creationId xmlns:a16="http://schemas.microsoft.com/office/drawing/2014/main" id="{9F889783-C3A5-4B3A-BD54-05015D9653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450"/>
          <a:stretch/>
        </p:blipFill>
        <p:spPr>
          <a:xfrm>
            <a:off x="2" y="2"/>
            <a:ext cx="12192001" cy="1675821"/>
          </a:xfrm>
          <a:prstGeom prst="rect">
            <a:avLst/>
          </a:prstGeom>
        </p:spPr>
      </p:pic>
      <p:pic>
        <p:nvPicPr>
          <p:cNvPr id="11" name="Imagen 4">
            <a:extLst>
              <a:ext uri="{FF2B5EF4-FFF2-40B4-BE49-F238E27FC236}">
                <a16:creationId xmlns:a16="http://schemas.microsoft.com/office/drawing/2014/main" id="{C2EB3887-F223-4ADB-87BD-0965875408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8" y="6099953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340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image" Target="../media/image1.emf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45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oleObject" Target="../embeddings/oleObject8.bin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heme" Target="../theme/theme2.xml"/><Relationship Id="rId24" Type="http://schemas.openxmlformats.org/officeDocument/2006/relationships/tags" Target="../tags/tag48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10" Type="http://schemas.openxmlformats.org/officeDocument/2006/relationships/slideLayout" Target="../slideLayouts/slideLayout18.xml"/><Relationship Id="rId19" Type="http://schemas.openxmlformats.org/officeDocument/2006/relationships/tags" Target="../tags/tag43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3.xml"/><Relationship Id="rId18" Type="http://schemas.openxmlformats.org/officeDocument/2006/relationships/tags" Target="../tags/tag97.xml"/><Relationship Id="rId26" Type="http://schemas.openxmlformats.org/officeDocument/2006/relationships/tags" Target="../tags/tag105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00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tags" Target="../tags/tag96.xml"/><Relationship Id="rId25" Type="http://schemas.openxmlformats.org/officeDocument/2006/relationships/tags" Target="../tags/tag104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95.xml"/><Relationship Id="rId20" Type="http://schemas.openxmlformats.org/officeDocument/2006/relationships/tags" Target="../tags/tag99.xml"/><Relationship Id="rId29" Type="http://schemas.openxmlformats.org/officeDocument/2006/relationships/tags" Target="../tags/tag10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103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94.xml"/><Relationship Id="rId23" Type="http://schemas.openxmlformats.org/officeDocument/2006/relationships/tags" Target="../tags/tag102.xml"/><Relationship Id="rId28" Type="http://schemas.openxmlformats.org/officeDocument/2006/relationships/tags" Target="../tags/tag107.xml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98.xml"/><Relationship Id="rId31" Type="http://schemas.openxmlformats.org/officeDocument/2006/relationships/oleObject" Target="../embeddings/oleObject19.bin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93.xml"/><Relationship Id="rId22" Type="http://schemas.openxmlformats.org/officeDocument/2006/relationships/tags" Target="../tags/tag101.xml"/><Relationship Id="rId27" Type="http://schemas.openxmlformats.org/officeDocument/2006/relationships/tags" Target="../tags/tag106.xml"/><Relationship Id="rId30" Type="http://schemas.openxmlformats.org/officeDocument/2006/relationships/tags" Target="../tags/tag10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tags" Target="../tags/tag172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167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4.xml"/><Relationship Id="rId17" Type="http://schemas.openxmlformats.org/officeDocument/2006/relationships/tags" Target="../tags/tag163.xml"/><Relationship Id="rId25" Type="http://schemas.openxmlformats.org/officeDocument/2006/relationships/tags" Target="../tags/tag171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62.xml"/><Relationship Id="rId20" Type="http://schemas.openxmlformats.org/officeDocument/2006/relationships/tags" Target="../tags/tag166.xml"/><Relationship Id="rId29" Type="http://schemas.openxmlformats.org/officeDocument/2006/relationships/tags" Target="../tags/tag175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tags" Target="../tags/tag170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161.xml"/><Relationship Id="rId23" Type="http://schemas.openxmlformats.org/officeDocument/2006/relationships/tags" Target="../tags/tag169.xml"/><Relationship Id="rId28" Type="http://schemas.openxmlformats.org/officeDocument/2006/relationships/tags" Target="../tags/tag174.xml"/><Relationship Id="rId10" Type="http://schemas.openxmlformats.org/officeDocument/2006/relationships/slideLayout" Target="../slideLayouts/slideLayout40.xml"/><Relationship Id="rId19" Type="http://schemas.openxmlformats.org/officeDocument/2006/relationships/tags" Target="../tags/tag165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160.xml"/><Relationship Id="rId22" Type="http://schemas.openxmlformats.org/officeDocument/2006/relationships/tags" Target="../tags/tag168.xml"/><Relationship Id="rId27" Type="http://schemas.openxmlformats.org/officeDocument/2006/relationships/tags" Target="../tags/tag173.xml"/><Relationship Id="rId30" Type="http://schemas.openxmlformats.org/officeDocument/2006/relationships/oleObject" Target="../embeddings/oleObject32.bin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theme" Target="../theme/theme5.xml"/><Relationship Id="rId26" Type="http://schemas.openxmlformats.org/officeDocument/2006/relationships/tags" Target="../tags/tag226.xml"/><Relationship Id="rId21" Type="http://schemas.openxmlformats.org/officeDocument/2006/relationships/tags" Target="../tags/tag221.xml"/><Relationship Id="rId34" Type="http://schemas.openxmlformats.org/officeDocument/2006/relationships/tags" Target="../tags/tag23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tags" Target="../tags/tag225.xml"/><Relationship Id="rId33" Type="http://schemas.openxmlformats.org/officeDocument/2006/relationships/tags" Target="../tags/tag233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ags" Target="../tags/tag220.xml"/><Relationship Id="rId29" Type="http://schemas.openxmlformats.org/officeDocument/2006/relationships/tags" Target="../tags/tag229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tags" Target="../tags/tag224.xml"/><Relationship Id="rId32" Type="http://schemas.openxmlformats.org/officeDocument/2006/relationships/tags" Target="../tags/tag2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tags" Target="../tags/tag223.xml"/><Relationship Id="rId28" Type="http://schemas.openxmlformats.org/officeDocument/2006/relationships/tags" Target="../tags/tag228.xml"/><Relationship Id="rId36" Type="http://schemas.openxmlformats.org/officeDocument/2006/relationships/oleObject" Target="../embeddings/oleObject44.bin"/><Relationship Id="rId10" Type="http://schemas.openxmlformats.org/officeDocument/2006/relationships/slideLayout" Target="../slideLayouts/slideLayout51.xml"/><Relationship Id="rId19" Type="http://schemas.openxmlformats.org/officeDocument/2006/relationships/tags" Target="../tags/tag219.xml"/><Relationship Id="rId31" Type="http://schemas.openxmlformats.org/officeDocument/2006/relationships/tags" Target="../tags/tag23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222.xml"/><Relationship Id="rId27" Type="http://schemas.openxmlformats.org/officeDocument/2006/relationships/tags" Target="../tags/tag227.xml"/><Relationship Id="rId30" Type="http://schemas.openxmlformats.org/officeDocument/2006/relationships/tags" Target="../tags/tag230.xml"/><Relationship Id="rId35" Type="http://schemas.openxmlformats.org/officeDocument/2006/relationships/tags" Target="../tags/tag235.xml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theme" Target="../theme/theme6.xml"/><Relationship Id="rId26" Type="http://schemas.openxmlformats.org/officeDocument/2006/relationships/tags" Target="../tags/tag275.xml"/><Relationship Id="rId21" Type="http://schemas.openxmlformats.org/officeDocument/2006/relationships/tags" Target="../tags/tag270.xml"/><Relationship Id="rId34" Type="http://schemas.openxmlformats.org/officeDocument/2006/relationships/tags" Target="../tags/tag283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tags" Target="../tags/tag274.xml"/><Relationship Id="rId33" Type="http://schemas.openxmlformats.org/officeDocument/2006/relationships/tags" Target="../tags/tag282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tags" Target="../tags/tag269.xml"/><Relationship Id="rId29" Type="http://schemas.openxmlformats.org/officeDocument/2006/relationships/tags" Target="../tags/tag278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tags" Target="../tags/tag273.xml"/><Relationship Id="rId32" Type="http://schemas.openxmlformats.org/officeDocument/2006/relationships/tags" Target="../tags/tag28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tags" Target="../tags/tag272.xml"/><Relationship Id="rId28" Type="http://schemas.openxmlformats.org/officeDocument/2006/relationships/tags" Target="../tags/tag277.xml"/><Relationship Id="rId36" Type="http://schemas.openxmlformats.org/officeDocument/2006/relationships/oleObject" Target="../embeddings/oleObject57.bin"/><Relationship Id="rId10" Type="http://schemas.openxmlformats.org/officeDocument/2006/relationships/slideLayout" Target="../slideLayouts/slideLayout68.xml"/><Relationship Id="rId19" Type="http://schemas.openxmlformats.org/officeDocument/2006/relationships/tags" Target="../tags/tag268.xml"/><Relationship Id="rId31" Type="http://schemas.openxmlformats.org/officeDocument/2006/relationships/tags" Target="../tags/tag280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tags" Target="../tags/tag271.xml"/><Relationship Id="rId27" Type="http://schemas.openxmlformats.org/officeDocument/2006/relationships/tags" Target="../tags/tag276.xml"/><Relationship Id="rId30" Type="http://schemas.openxmlformats.org/officeDocument/2006/relationships/tags" Target="../tags/tag279.xml"/><Relationship Id="rId35" Type="http://schemas.openxmlformats.org/officeDocument/2006/relationships/tags" Target="../tags/tag284.xml"/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.xml"/><Relationship Id="rId18" Type="http://schemas.openxmlformats.org/officeDocument/2006/relationships/tags" Target="../tags/tag320.xml"/><Relationship Id="rId26" Type="http://schemas.openxmlformats.org/officeDocument/2006/relationships/tags" Target="../tags/tag328.xml"/><Relationship Id="rId3" Type="http://schemas.openxmlformats.org/officeDocument/2006/relationships/slideLayout" Target="../slideLayouts/slideLayout78.xml"/><Relationship Id="rId21" Type="http://schemas.openxmlformats.org/officeDocument/2006/relationships/tags" Target="../tags/tag323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tags" Target="../tags/tag319.xml"/><Relationship Id="rId25" Type="http://schemas.openxmlformats.org/officeDocument/2006/relationships/tags" Target="../tags/tag327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77.xml"/><Relationship Id="rId16" Type="http://schemas.openxmlformats.org/officeDocument/2006/relationships/tags" Target="../tags/tag318.xml"/><Relationship Id="rId20" Type="http://schemas.openxmlformats.org/officeDocument/2006/relationships/tags" Target="../tags/tag322.xml"/><Relationship Id="rId29" Type="http://schemas.openxmlformats.org/officeDocument/2006/relationships/tags" Target="../tags/tag331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tags" Target="../tags/tag326.xml"/><Relationship Id="rId32" Type="http://schemas.openxmlformats.org/officeDocument/2006/relationships/oleObject" Target="../embeddings/oleObject66.bin"/><Relationship Id="rId5" Type="http://schemas.openxmlformats.org/officeDocument/2006/relationships/slideLayout" Target="../slideLayouts/slideLayout80.xml"/><Relationship Id="rId15" Type="http://schemas.openxmlformats.org/officeDocument/2006/relationships/tags" Target="../tags/tag317.xml"/><Relationship Id="rId23" Type="http://schemas.openxmlformats.org/officeDocument/2006/relationships/tags" Target="../tags/tag325.xml"/><Relationship Id="rId28" Type="http://schemas.openxmlformats.org/officeDocument/2006/relationships/tags" Target="../tags/tag330.xml"/><Relationship Id="rId10" Type="http://schemas.openxmlformats.org/officeDocument/2006/relationships/slideLayout" Target="../slideLayouts/slideLayout85.xml"/><Relationship Id="rId19" Type="http://schemas.openxmlformats.org/officeDocument/2006/relationships/tags" Target="../tags/tag321.xml"/><Relationship Id="rId31" Type="http://schemas.openxmlformats.org/officeDocument/2006/relationships/tags" Target="../tags/tag333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theme" Target="../theme/theme7.xml"/><Relationship Id="rId22" Type="http://schemas.openxmlformats.org/officeDocument/2006/relationships/tags" Target="../tags/tag324.xml"/><Relationship Id="rId27" Type="http://schemas.openxmlformats.org/officeDocument/2006/relationships/tags" Target="../tags/tag329.xml"/><Relationship Id="rId30" Type="http://schemas.openxmlformats.org/officeDocument/2006/relationships/tags" Target="../tags/tag332.xml"/><Relationship Id="rId8" Type="http://schemas.openxmlformats.org/officeDocument/2006/relationships/slideLayout" Target="../slideLayouts/slideLayout8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0.xml"/><Relationship Id="rId16" Type="http://schemas.openxmlformats.org/officeDocument/2006/relationships/image" Target="../media/image46.emf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oleObject" Target="../embeddings/oleObject70.bin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tags" Target="../tags/tag3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4287392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7" imgW="270" imgH="270" progId="TCLayout.ActiveDocument.1">
                  <p:embed/>
                </p:oleObj>
              </mc:Choice>
              <mc:Fallback>
                <p:oleObj name="Diapositiva de think-cell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49870" y="234865"/>
            <a:ext cx="11537600" cy="408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49870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>
                <a:solidFill>
                  <a:schemeClr val="accent4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49870" y="742628"/>
            <a:ext cx="11537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EB8F58D9-5386-40A1-83C8-92538B71677A}"/>
              </a:ext>
            </a:extLst>
          </p:cNvPr>
          <p:cNvSpPr>
            <a:spLocks/>
          </p:cNvSpPr>
          <p:nvPr userDrawn="1"/>
        </p:nvSpPr>
        <p:spPr>
          <a:xfrm>
            <a:off x="11495662" y="6560370"/>
            <a:ext cx="440358" cy="297630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3" name="Slide Number">
            <a:extLst>
              <a:ext uri="{FF2B5EF4-FFF2-40B4-BE49-F238E27FC236}">
                <a16:creationId xmlns:a16="http://schemas.microsoft.com/office/drawing/2014/main" id="{0001E0F9-F841-4179-83AB-629C0D318BA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52053" y="6627163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Nº›</a:t>
            </a:fld>
            <a:endParaRPr lang="en-US" sz="816">
              <a:solidFill>
                <a:schemeClr val="bg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AE4C287A-7434-4E17-9EEE-B07B6568793B}"/>
              </a:ext>
            </a:extLst>
          </p:cNvPr>
          <p:cNvGrpSpPr/>
          <p:nvPr userDrawn="1"/>
        </p:nvGrpSpPr>
        <p:grpSpPr>
          <a:xfrm>
            <a:off x="10829030" y="6608570"/>
            <a:ext cx="618531" cy="165283"/>
            <a:chOff x="4797041" y="952089"/>
            <a:chExt cx="2281238" cy="609599"/>
          </a:xfrm>
        </p:grpSpPr>
        <p:sp>
          <p:nvSpPr>
            <p:cNvPr id="73" name="Freeform 538">
              <a:extLst>
                <a:ext uri="{FF2B5EF4-FFF2-40B4-BE49-F238E27FC236}">
                  <a16:creationId xmlns:a16="http://schemas.microsoft.com/office/drawing/2014/main" id="{F42844E3-FA3E-45AE-9B99-16AD552276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74" name="Freeform 539">
              <a:extLst>
                <a:ext uri="{FF2B5EF4-FFF2-40B4-BE49-F238E27FC236}">
                  <a16:creationId xmlns:a16="http://schemas.microsoft.com/office/drawing/2014/main" id="{6CC373D4-7D2A-47E3-B158-3797BAE3CC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75" name="Freeform 540">
              <a:extLst>
                <a:ext uri="{FF2B5EF4-FFF2-40B4-BE49-F238E27FC236}">
                  <a16:creationId xmlns:a16="http://schemas.microsoft.com/office/drawing/2014/main" id="{EE76D771-9744-40D7-91F3-7EE46F718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76" name="Freeform 541">
              <a:extLst>
                <a:ext uri="{FF2B5EF4-FFF2-40B4-BE49-F238E27FC236}">
                  <a16:creationId xmlns:a16="http://schemas.microsoft.com/office/drawing/2014/main" id="{2C624AAB-EEC8-48F1-B71D-113F37C7CE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77" name="Freeform 542">
              <a:extLst>
                <a:ext uri="{FF2B5EF4-FFF2-40B4-BE49-F238E27FC236}">
                  <a16:creationId xmlns:a16="http://schemas.microsoft.com/office/drawing/2014/main" id="{9F7706B4-407D-4EE9-85C0-1509EEF7D0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78" name="Freeform 543">
              <a:extLst>
                <a:ext uri="{FF2B5EF4-FFF2-40B4-BE49-F238E27FC236}">
                  <a16:creationId xmlns:a16="http://schemas.microsoft.com/office/drawing/2014/main" id="{D6DABB6B-85DC-4FA3-A00C-412C0C3FB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79" name="Freeform 544">
              <a:extLst>
                <a:ext uri="{FF2B5EF4-FFF2-40B4-BE49-F238E27FC236}">
                  <a16:creationId xmlns:a16="http://schemas.microsoft.com/office/drawing/2014/main" id="{F5793161-6CEC-4AEC-A378-50BB4043A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E5EF5791-DB6D-7D23-5588-9FAB983238C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3106872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4035" r:id="rId3"/>
    <p:sldLayoutId id="2147483887" r:id="rId4"/>
    <p:sldLayoutId id="2147483888" r:id="rId5"/>
    <p:sldLayoutId id="2147483889" r:id="rId6"/>
    <p:sldLayoutId id="2147483914" r:id="rId7"/>
    <p:sldLayoutId id="2147484033" r:id="rId8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14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2221280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9" imgW="270" imgH="270" progId="TCLayout.ActiveDocument.1">
                  <p:embed/>
                </p:oleObj>
              </mc:Choice>
              <mc:Fallback>
                <p:oleObj name="Diapositiva de think-cell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49870" y="234865"/>
            <a:ext cx="11537600" cy="408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49870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>
                <a:solidFill>
                  <a:schemeClr val="accent4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49870" y="742628"/>
            <a:ext cx="11537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37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EB8F58D9-5386-40A1-83C8-92538B71677A}"/>
              </a:ext>
            </a:extLst>
          </p:cNvPr>
          <p:cNvSpPr>
            <a:spLocks/>
          </p:cNvSpPr>
          <p:nvPr/>
        </p:nvSpPr>
        <p:spPr>
          <a:xfrm>
            <a:off x="11495662" y="6560370"/>
            <a:ext cx="440358" cy="297630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3" name="Slide Number">
            <a:extLst>
              <a:ext uri="{FF2B5EF4-FFF2-40B4-BE49-F238E27FC236}">
                <a16:creationId xmlns:a16="http://schemas.microsoft.com/office/drawing/2014/main" id="{0001E0F9-F841-4179-83AB-629C0D318BAA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27163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Nº›</a:t>
            </a:fld>
            <a:endParaRPr lang="en-US" sz="816">
              <a:solidFill>
                <a:schemeClr val="bg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AE4C287A-7434-4E17-9EEE-B07B6568793B}"/>
              </a:ext>
            </a:extLst>
          </p:cNvPr>
          <p:cNvGrpSpPr/>
          <p:nvPr/>
        </p:nvGrpSpPr>
        <p:grpSpPr>
          <a:xfrm>
            <a:off x="10829030" y="6608570"/>
            <a:ext cx="618531" cy="165283"/>
            <a:chOff x="4797041" y="952089"/>
            <a:chExt cx="2281238" cy="609599"/>
          </a:xfrm>
        </p:grpSpPr>
        <p:sp>
          <p:nvSpPr>
            <p:cNvPr id="73" name="Freeform 538">
              <a:extLst>
                <a:ext uri="{FF2B5EF4-FFF2-40B4-BE49-F238E27FC236}">
                  <a16:creationId xmlns:a16="http://schemas.microsoft.com/office/drawing/2014/main" id="{F42844E3-FA3E-45AE-9B99-16AD552276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4" name="Freeform 539">
              <a:extLst>
                <a:ext uri="{FF2B5EF4-FFF2-40B4-BE49-F238E27FC236}">
                  <a16:creationId xmlns:a16="http://schemas.microsoft.com/office/drawing/2014/main" id="{6CC373D4-7D2A-47E3-B158-3797BAE3CC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5" name="Freeform 540">
              <a:extLst>
                <a:ext uri="{FF2B5EF4-FFF2-40B4-BE49-F238E27FC236}">
                  <a16:creationId xmlns:a16="http://schemas.microsoft.com/office/drawing/2014/main" id="{EE76D771-9744-40D7-91F3-7EE46F718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6" name="Freeform 541">
              <a:extLst>
                <a:ext uri="{FF2B5EF4-FFF2-40B4-BE49-F238E27FC236}">
                  <a16:creationId xmlns:a16="http://schemas.microsoft.com/office/drawing/2014/main" id="{2C624AAB-EEC8-48F1-B71D-113F37C7CE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7" name="Freeform 542">
              <a:extLst>
                <a:ext uri="{FF2B5EF4-FFF2-40B4-BE49-F238E27FC236}">
                  <a16:creationId xmlns:a16="http://schemas.microsoft.com/office/drawing/2014/main" id="{9F7706B4-407D-4EE9-85C0-1509EEF7D0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8" name="Freeform 543">
              <a:extLst>
                <a:ext uri="{FF2B5EF4-FFF2-40B4-BE49-F238E27FC236}">
                  <a16:creationId xmlns:a16="http://schemas.microsoft.com/office/drawing/2014/main" id="{D6DABB6B-85DC-4FA3-A00C-412C0C3FB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9" name="Freeform 544">
              <a:extLst>
                <a:ext uri="{FF2B5EF4-FFF2-40B4-BE49-F238E27FC236}">
                  <a16:creationId xmlns:a16="http://schemas.microsoft.com/office/drawing/2014/main" id="{F5793161-6CEC-4AEC-A378-50BB4043A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D6259E69-592D-B733-3DE1-EAC241BC978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665940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</p:sldLayoutIdLst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65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6351508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1" imgW="270" imgH="270" progId="TCLayout.ActiveDocument.1">
                  <p:embed/>
                </p:oleObj>
              </mc:Choice>
              <mc:Fallback>
                <p:oleObj name="Diapositiva de think-cell" r:id="rId3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P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rtl="0" eaLnBrk="1"/>
            <a:endParaRPr lang="es-P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49870" y="234865"/>
            <a:ext cx="11537600" cy="408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s-P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49870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rtl="0"/>
            <a:r>
              <a:rPr lang="es-PE" sz="816" cap="all" baseline="0" noProof="0" err="1">
                <a:solidFill>
                  <a:schemeClr val="accent4"/>
                </a:solidFill>
                <a:latin typeface="+mn-lt"/>
                <a:ea typeface="+mn-ea"/>
              </a:rPr>
              <a:t>Tracker</a:t>
            </a:r>
            <a:endParaRPr lang="es-PE" sz="816" cap="all" baseline="0" noProof="0">
              <a:solidFill>
                <a:schemeClr val="accent4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49870" y="742628"/>
            <a:ext cx="11537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rtl="0">
              <a:defRPr/>
            </a:pPr>
            <a:r>
              <a:rPr lang="es-PE" sz="1632" baseline="0" noProof="0" err="1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s-PE" sz="163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 rtl="0">
              <a:defRPr/>
            </a:pPr>
            <a:r>
              <a:rPr lang="es-PE" sz="816" baseline="0" noProof="0">
                <a:solidFill>
                  <a:schemeClr val="accent6"/>
                </a:solidFill>
                <a:latin typeface="+mn-lt"/>
                <a:ea typeface="+mn-ea"/>
              </a:rPr>
              <a:t>1 </a:t>
            </a:r>
            <a:r>
              <a:rPr lang="es-PE" sz="816" baseline="0" noProof="0" err="1">
                <a:solidFill>
                  <a:schemeClr val="accent6"/>
                </a:solidFill>
                <a:latin typeface="+mn-lt"/>
                <a:ea typeface="+mn-ea"/>
              </a:rPr>
              <a:t>Footnote</a:t>
            </a:r>
            <a:endParaRPr lang="es-PE" sz="816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 rtl="0">
              <a:tabLst/>
            </a:pPr>
            <a:r>
              <a:rPr lang="es-PE" sz="816" baseline="0" noProof="0">
                <a:solidFill>
                  <a:schemeClr val="accent6"/>
                </a:solidFill>
                <a:latin typeface="+mn-lt"/>
                <a:ea typeface="+mn-ea"/>
              </a:rPr>
              <a:t>SOURCE: </a:t>
            </a:r>
            <a:r>
              <a:rPr lang="es-PE" sz="816" baseline="0" noProof="0" err="1">
                <a:solidFill>
                  <a:schemeClr val="accent6"/>
                </a:solidFill>
                <a:latin typeface="+mn-lt"/>
                <a:ea typeface="+mn-ea"/>
              </a:rPr>
              <a:t>Source</a:t>
            </a:r>
            <a:endParaRPr lang="es-PE" sz="816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rtl="0"/>
              <a:r>
                <a:rPr lang="es-PE" sz="1632" b="1" baseline="0" noProof="0" err="1">
                  <a:latin typeface="+mn-lt"/>
                  <a:ea typeface="+mn-ea"/>
                </a:rPr>
                <a:t>Title</a:t>
              </a:r>
              <a:endParaRPr lang="es-PE" sz="1632" b="1" baseline="0" noProof="0">
                <a:latin typeface="+mn-lt"/>
                <a:ea typeface="+mn-ea"/>
              </a:endParaRPr>
            </a:p>
            <a:p>
              <a:pPr rtl="0"/>
              <a:r>
                <a:rPr lang="es-PE" sz="1632" baseline="0" noProof="0" err="1">
                  <a:solidFill>
                    <a:schemeClr val="accent6"/>
                  </a:solidFill>
                  <a:latin typeface="+mn-lt"/>
                  <a:ea typeface="+mn-ea"/>
                </a:rPr>
                <a:t>Unit</a:t>
              </a:r>
              <a:r>
                <a:rPr lang="es-PE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PE" sz="1632" baseline="0" noProof="0" err="1">
                  <a:solidFill>
                    <a:schemeClr val="accent6"/>
                  </a:solidFill>
                  <a:latin typeface="+mn-lt"/>
                  <a:ea typeface="+mn-ea"/>
                </a:rPr>
                <a:t>of</a:t>
              </a:r>
              <a:r>
                <a:rPr lang="es-PE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PE" sz="1632" baseline="0" noProof="0" err="1">
                  <a:solidFill>
                    <a:schemeClr val="accent6"/>
                  </a:solidFill>
                  <a:latin typeface="+mn-lt"/>
                  <a:ea typeface="+mn-ea"/>
                </a:rPr>
                <a:t>measure</a:t>
              </a:r>
              <a:endParaRPr lang="es-PE" sz="1632" baseline="0" noProof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 rtl="0">
                <a:buClr>
                  <a:schemeClr val="tx2"/>
                </a:buClr>
              </a:pPr>
              <a:r>
                <a:rPr lang="es-PE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s-PE" sz="1837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ext</a:t>
            </a:r>
            <a:r>
              <a:rPr lang="es-PE"/>
              <a:t> </a:t>
            </a:r>
            <a:r>
              <a:rPr lang="es-PE" err="1"/>
              <a:t>styles</a:t>
            </a:r>
            <a:endParaRPr lang="es-PE"/>
          </a:p>
          <a:p>
            <a:pPr lvl="1" latinLnBrk="0"/>
            <a:r>
              <a:rPr lang="es-PE" err="1"/>
              <a:t>Second</a:t>
            </a:r>
            <a:r>
              <a:rPr lang="es-PE"/>
              <a:t> </a:t>
            </a:r>
            <a:r>
              <a:rPr lang="es-PE" err="1"/>
              <a:t>level</a:t>
            </a:r>
            <a:endParaRPr lang="es-PE"/>
          </a:p>
          <a:p>
            <a:pPr lvl="2" latinLnBrk="0"/>
            <a:r>
              <a:rPr lang="es-PE" err="1"/>
              <a:t>Third</a:t>
            </a:r>
            <a:r>
              <a:rPr lang="es-PE"/>
              <a:t> </a:t>
            </a:r>
            <a:r>
              <a:rPr lang="es-PE" err="1"/>
              <a:t>level</a:t>
            </a:r>
            <a:endParaRPr lang="es-PE"/>
          </a:p>
          <a:p>
            <a:pPr lvl="3" latinLnBrk="0"/>
            <a:r>
              <a:rPr lang="es-PE" err="1"/>
              <a:t>Fourth</a:t>
            </a:r>
            <a:r>
              <a:rPr lang="es-PE"/>
              <a:t> </a:t>
            </a:r>
            <a:r>
              <a:rPr lang="es-PE" err="1"/>
              <a:t>level</a:t>
            </a:r>
            <a:endParaRPr lang="es-PE"/>
          </a:p>
          <a:p>
            <a:pPr lvl="4" latinLnBrk="0"/>
            <a:r>
              <a:rPr lang="es-PE" err="1"/>
              <a:t>Fifth</a:t>
            </a:r>
            <a:r>
              <a:rPr lang="es-PE"/>
              <a:t> </a:t>
            </a:r>
            <a:r>
              <a:rPr lang="es-PE" err="1"/>
              <a:t>level</a:t>
            </a:r>
            <a:endParaRPr lang="es-PE"/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EB8F58D9-5386-40A1-83C8-92538B71677A}"/>
              </a:ext>
            </a:extLst>
          </p:cNvPr>
          <p:cNvSpPr>
            <a:spLocks/>
          </p:cNvSpPr>
          <p:nvPr/>
        </p:nvSpPr>
        <p:spPr>
          <a:xfrm>
            <a:off x="11495662" y="6560370"/>
            <a:ext cx="440358" cy="297630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63" name="Slide Number">
            <a:extLst>
              <a:ext uri="{FF2B5EF4-FFF2-40B4-BE49-F238E27FC236}">
                <a16:creationId xmlns:a16="http://schemas.microsoft.com/office/drawing/2014/main" id="{0001E0F9-F841-4179-83AB-629C0D318BAA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28438"/>
            <a:ext cx="184346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rtl="0"/>
            <a:fld id="{42C328C1-A84F-4A39-A664-DBA00541A8C6}" type="slidenum">
              <a:rPr lang="es-PE" sz="816" smtClean="0">
                <a:solidFill>
                  <a:schemeClr val="bg1"/>
                </a:solidFill>
              </a:rPr>
              <a:pPr lvl="0" rtl="0"/>
              <a:t>‹Nº›</a:t>
            </a:fld>
            <a:endParaRPr lang="es-PE" sz="816">
              <a:solidFill>
                <a:schemeClr val="bg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AE4C287A-7434-4E17-9EEE-B07B6568793B}"/>
              </a:ext>
            </a:extLst>
          </p:cNvPr>
          <p:cNvGrpSpPr/>
          <p:nvPr/>
        </p:nvGrpSpPr>
        <p:grpSpPr>
          <a:xfrm>
            <a:off x="10829030" y="6608570"/>
            <a:ext cx="618531" cy="165283"/>
            <a:chOff x="4797041" y="952089"/>
            <a:chExt cx="2281238" cy="609599"/>
          </a:xfrm>
        </p:grpSpPr>
        <p:sp>
          <p:nvSpPr>
            <p:cNvPr id="73" name="Freeform 538">
              <a:extLst>
                <a:ext uri="{FF2B5EF4-FFF2-40B4-BE49-F238E27FC236}">
                  <a16:creationId xmlns:a16="http://schemas.microsoft.com/office/drawing/2014/main" id="{F42844E3-FA3E-45AE-9B99-16AD552276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4" name="Freeform 539">
              <a:extLst>
                <a:ext uri="{FF2B5EF4-FFF2-40B4-BE49-F238E27FC236}">
                  <a16:creationId xmlns:a16="http://schemas.microsoft.com/office/drawing/2014/main" id="{6CC373D4-7D2A-47E3-B158-3797BAE3CC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5" name="Freeform 540">
              <a:extLst>
                <a:ext uri="{FF2B5EF4-FFF2-40B4-BE49-F238E27FC236}">
                  <a16:creationId xmlns:a16="http://schemas.microsoft.com/office/drawing/2014/main" id="{EE76D771-9744-40D7-91F3-7EE46F718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6" name="Freeform 541">
              <a:extLst>
                <a:ext uri="{FF2B5EF4-FFF2-40B4-BE49-F238E27FC236}">
                  <a16:creationId xmlns:a16="http://schemas.microsoft.com/office/drawing/2014/main" id="{2C624AAB-EEC8-48F1-B71D-113F37C7CE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7" name="Freeform 542">
              <a:extLst>
                <a:ext uri="{FF2B5EF4-FFF2-40B4-BE49-F238E27FC236}">
                  <a16:creationId xmlns:a16="http://schemas.microsoft.com/office/drawing/2014/main" id="{9F7706B4-407D-4EE9-85C0-1509EEF7D0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8" name="Freeform 543">
              <a:extLst>
                <a:ext uri="{FF2B5EF4-FFF2-40B4-BE49-F238E27FC236}">
                  <a16:creationId xmlns:a16="http://schemas.microsoft.com/office/drawing/2014/main" id="{D6DABB6B-85DC-4FA3-A00C-412C0C3FB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9" name="Freeform 544">
              <a:extLst>
                <a:ext uri="{FF2B5EF4-FFF2-40B4-BE49-F238E27FC236}">
                  <a16:creationId xmlns:a16="http://schemas.microsoft.com/office/drawing/2014/main" id="{F5793161-6CEC-4AEC-A378-50BB4043A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E54B7012-D9BE-4F12-F19D-7D6461E542F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188552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</p:sldLayoutIdLst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65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836716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0" imgW="270" imgH="270" progId="TCLayout.ActiveDocument.1">
                  <p:embed/>
                </p:oleObj>
              </mc:Choice>
              <mc:Fallback>
                <p:oleObj name="Diapositiva de think-cell" r:id="rId3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P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rtl="0" eaLnBrk="1"/>
            <a:endParaRPr lang="es-P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49870" y="234865"/>
            <a:ext cx="11537600" cy="408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s-P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49870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rtl="0"/>
            <a:r>
              <a:rPr lang="es-PE" sz="816" cap="all" baseline="0" noProof="0" err="1">
                <a:solidFill>
                  <a:schemeClr val="accent4"/>
                </a:solidFill>
                <a:latin typeface="+mn-lt"/>
                <a:ea typeface="+mn-ea"/>
              </a:rPr>
              <a:t>Tracker</a:t>
            </a:r>
            <a:endParaRPr lang="es-PE" sz="816" cap="all" baseline="0" noProof="0">
              <a:solidFill>
                <a:schemeClr val="accent4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49870" y="742628"/>
            <a:ext cx="11537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rtl="0">
              <a:defRPr/>
            </a:pPr>
            <a:r>
              <a:rPr lang="es-PE" sz="1632" baseline="0" noProof="0" err="1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s-PE" sz="163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 rtl="0">
              <a:defRPr/>
            </a:pPr>
            <a:r>
              <a:rPr lang="es-PE" sz="816" baseline="0" noProof="0">
                <a:solidFill>
                  <a:schemeClr val="accent6"/>
                </a:solidFill>
                <a:latin typeface="+mn-lt"/>
                <a:ea typeface="+mn-ea"/>
              </a:rPr>
              <a:t>1 </a:t>
            </a:r>
            <a:r>
              <a:rPr lang="es-PE" sz="816" baseline="0" noProof="0" err="1">
                <a:solidFill>
                  <a:schemeClr val="accent6"/>
                </a:solidFill>
                <a:latin typeface="+mn-lt"/>
                <a:ea typeface="+mn-ea"/>
              </a:rPr>
              <a:t>Footnote</a:t>
            </a:r>
            <a:endParaRPr lang="es-PE" sz="816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 rtl="0">
              <a:tabLst/>
            </a:pPr>
            <a:r>
              <a:rPr lang="es-PE" sz="816" baseline="0" noProof="0">
                <a:solidFill>
                  <a:schemeClr val="accent6"/>
                </a:solidFill>
                <a:latin typeface="+mn-lt"/>
                <a:ea typeface="+mn-ea"/>
              </a:rPr>
              <a:t>SOURCE: </a:t>
            </a:r>
            <a:r>
              <a:rPr lang="es-PE" sz="816" baseline="0" noProof="0" err="1">
                <a:solidFill>
                  <a:schemeClr val="accent6"/>
                </a:solidFill>
                <a:latin typeface="+mn-lt"/>
                <a:ea typeface="+mn-ea"/>
              </a:rPr>
              <a:t>Source</a:t>
            </a:r>
            <a:endParaRPr lang="es-PE" sz="816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rtl="0"/>
              <a:r>
                <a:rPr lang="es-PE" sz="1632" b="1" baseline="0" noProof="0" err="1">
                  <a:latin typeface="+mn-lt"/>
                  <a:ea typeface="+mn-ea"/>
                </a:rPr>
                <a:t>Title</a:t>
              </a:r>
              <a:endParaRPr lang="es-PE" sz="1632" b="1" baseline="0" noProof="0">
                <a:latin typeface="+mn-lt"/>
                <a:ea typeface="+mn-ea"/>
              </a:endParaRPr>
            </a:p>
            <a:p>
              <a:pPr rtl="0"/>
              <a:r>
                <a:rPr lang="es-PE" sz="1632" baseline="0" noProof="0" err="1">
                  <a:solidFill>
                    <a:schemeClr val="accent6"/>
                  </a:solidFill>
                  <a:latin typeface="+mn-lt"/>
                  <a:ea typeface="+mn-ea"/>
                </a:rPr>
                <a:t>Unit</a:t>
              </a:r>
              <a:r>
                <a:rPr lang="es-PE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PE" sz="1632" baseline="0" noProof="0" err="1">
                  <a:solidFill>
                    <a:schemeClr val="accent6"/>
                  </a:solidFill>
                  <a:latin typeface="+mn-lt"/>
                  <a:ea typeface="+mn-ea"/>
                </a:rPr>
                <a:t>of</a:t>
              </a:r>
              <a:r>
                <a:rPr lang="es-PE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PE" sz="1632" baseline="0" noProof="0" err="1">
                  <a:solidFill>
                    <a:schemeClr val="accent6"/>
                  </a:solidFill>
                  <a:latin typeface="+mn-lt"/>
                  <a:ea typeface="+mn-ea"/>
                </a:rPr>
                <a:t>measure</a:t>
              </a:r>
              <a:endParaRPr lang="es-PE" sz="1632" baseline="0" noProof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 rtl="0">
                <a:buClr>
                  <a:schemeClr val="tx2"/>
                </a:buClr>
              </a:pPr>
              <a:r>
                <a:rPr lang="es-PE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 eaLnBrk="1"/>
              <a:endParaRPr lang="es-PE" sz="1837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eaLnBrk="1"/>
                <a:endParaRPr lang="es-PE" sz="1837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rtl="0">
                <a:buClr>
                  <a:schemeClr val="tx2"/>
                </a:buClr>
              </a:pPr>
              <a:r>
                <a:rPr lang="es-PE" sz="1224" baseline="0" err="1">
                  <a:latin typeface="+mn-lt"/>
                  <a:ea typeface="+mn-ea"/>
                </a:rPr>
                <a:t>Legend</a:t>
              </a:r>
              <a:endParaRPr lang="es-PE" sz="1224" baseline="0"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s-PE" sz="1837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ext</a:t>
            </a:r>
            <a:r>
              <a:rPr lang="es-PE"/>
              <a:t> </a:t>
            </a:r>
            <a:r>
              <a:rPr lang="es-PE" err="1"/>
              <a:t>styles</a:t>
            </a:r>
            <a:endParaRPr lang="es-PE"/>
          </a:p>
          <a:p>
            <a:pPr lvl="1" latinLnBrk="0"/>
            <a:r>
              <a:rPr lang="es-PE" err="1"/>
              <a:t>Second</a:t>
            </a:r>
            <a:r>
              <a:rPr lang="es-PE"/>
              <a:t> </a:t>
            </a:r>
            <a:r>
              <a:rPr lang="es-PE" err="1"/>
              <a:t>level</a:t>
            </a:r>
            <a:endParaRPr lang="es-PE"/>
          </a:p>
          <a:p>
            <a:pPr lvl="2" latinLnBrk="0"/>
            <a:r>
              <a:rPr lang="es-PE" err="1"/>
              <a:t>Third</a:t>
            </a:r>
            <a:r>
              <a:rPr lang="es-PE"/>
              <a:t> </a:t>
            </a:r>
            <a:r>
              <a:rPr lang="es-PE" err="1"/>
              <a:t>level</a:t>
            </a:r>
            <a:endParaRPr lang="es-PE"/>
          </a:p>
          <a:p>
            <a:pPr lvl="3" latinLnBrk="0"/>
            <a:r>
              <a:rPr lang="es-PE" err="1"/>
              <a:t>Fourth</a:t>
            </a:r>
            <a:r>
              <a:rPr lang="es-PE"/>
              <a:t> </a:t>
            </a:r>
            <a:r>
              <a:rPr lang="es-PE" err="1"/>
              <a:t>level</a:t>
            </a:r>
            <a:endParaRPr lang="es-PE"/>
          </a:p>
          <a:p>
            <a:pPr lvl="4" latinLnBrk="0"/>
            <a:r>
              <a:rPr lang="es-PE" err="1"/>
              <a:t>Fifth</a:t>
            </a:r>
            <a:r>
              <a:rPr lang="es-PE"/>
              <a:t> </a:t>
            </a:r>
            <a:r>
              <a:rPr lang="es-PE" err="1"/>
              <a:t>level</a:t>
            </a:r>
            <a:endParaRPr lang="es-PE"/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EB8F58D9-5386-40A1-83C8-92538B71677A}"/>
              </a:ext>
            </a:extLst>
          </p:cNvPr>
          <p:cNvSpPr>
            <a:spLocks/>
          </p:cNvSpPr>
          <p:nvPr/>
        </p:nvSpPr>
        <p:spPr>
          <a:xfrm>
            <a:off x="11495662" y="6560370"/>
            <a:ext cx="440358" cy="297630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 eaLnBrk="1"/>
            <a:endParaRPr lang="es-PE" sz="1837">
              <a:solidFill>
                <a:schemeClr val="tx1"/>
              </a:solidFill>
            </a:endParaRPr>
          </a:p>
        </p:txBody>
      </p:sp>
      <p:sp>
        <p:nvSpPr>
          <p:cNvPr id="63" name="Slide Number">
            <a:extLst>
              <a:ext uri="{FF2B5EF4-FFF2-40B4-BE49-F238E27FC236}">
                <a16:creationId xmlns:a16="http://schemas.microsoft.com/office/drawing/2014/main" id="{0001E0F9-F841-4179-83AB-629C0D318BAA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28438"/>
            <a:ext cx="184346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rtl="0"/>
            <a:fld id="{42C328C1-A84F-4A39-A664-DBA00541A8C6}" type="slidenum">
              <a:rPr lang="es-PE" sz="816" smtClean="0">
                <a:solidFill>
                  <a:schemeClr val="bg1"/>
                </a:solidFill>
              </a:rPr>
              <a:pPr lvl="0" rtl="0"/>
              <a:t>‹Nº›</a:t>
            </a:fld>
            <a:endParaRPr lang="es-PE" sz="816">
              <a:solidFill>
                <a:schemeClr val="bg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AE4C287A-7434-4E17-9EEE-B07B6568793B}"/>
              </a:ext>
            </a:extLst>
          </p:cNvPr>
          <p:cNvGrpSpPr/>
          <p:nvPr/>
        </p:nvGrpSpPr>
        <p:grpSpPr>
          <a:xfrm>
            <a:off x="10829030" y="6608570"/>
            <a:ext cx="618531" cy="165283"/>
            <a:chOff x="4797041" y="952089"/>
            <a:chExt cx="2281238" cy="609599"/>
          </a:xfrm>
        </p:grpSpPr>
        <p:sp>
          <p:nvSpPr>
            <p:cNvPr id="73" name="Freeform 538">
              <a:extLst>
                <a:ext uri="{FF2B5EF4-FFF2-40B4-BE49-F238E27FC236}">
                  <a16:creationId xmlns:a16="http://schemas.microsoft.com/office/drawing/2014/main" id="{F42844E3-FA3E-45AE-9B99-16AD552276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4" name="Freeform 539">
              <a:extLst>
                <a:ext uri="{FF2B5EF4-FFF2-40B4-BE49-F238E27FC236}">
                  <a16:creationId xmlns:a16="http://schemas.microsoft.com/office/drawing/2014/main" id="{6CC373D4-7D2A-47E3-B158-3797BAE3CC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5" name="Freeform 540">
              <a:extLst>
                <a:ext uri="{FF2B5EF4-FFF2-40B4-BE49-F238E27FC236}">
                  <a16:creationId xmlns:a16="http://schemas.microsoft.com/office/drawing/2014/main" id="{EE76D771-9744-40D7-91F3-7EE46F718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6" name="Freeform 541">
              <a:extLst>
                <a:ext uri="{FF2B5EF4-FFF2-40B4-BE49-F238E27FC236}">
                  <a16:creationId xmlns:a16="http://schemas.microsoft.com/office/drawing/2014/main" id="{2C624AAB-EEC8-48F1-B71D-113F37C7CE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7" name="Freeform 542">
              <a:extLst>
                <a:ext uri="{FF2B5EF4-FFF2-40B4-BE49-F238E27FC236}">
                  <a16:creationId xmlns:a16="http://schemas.microsoft.com/office/drawing/2014/main" id="{9F7706B4-407D-4EE9-85C0-1509EEF7D0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8" name="Freeform 543">
              <a:extLst>
                <a:ext uri="{FF2B5EF4-FFF2-40B4-BE49-F238E27FC236}">
                  <a16:creationId xmlns:a16="http://schemas.microsoft.com/office/drawing/2014/main" id="{D6DABB6B-85DC-4FA3-A00C-412C0C3FB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  <p:sp>
          <p:nvSpPr>
            <p:cNvPr id="79" name="Freeform 544">
              <a:extLst>
                <a:ext uri="{FF2B5EF4-FFF2-40B4-BE49-F238E27FC236}">
                  <a16:creationId xmlns:a16="http://schemas.microsoft.com/office/drawing/2014/main" id="{F5793161-6CEC-4AEC-A378-50BB4043A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s-PE" sz="1837"/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4AC96A2E-9794-A2F2-7A40-E467C023AF7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30468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</p:sldLayoutIdLst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65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ángulo 66">
            <a:extLst>
              <a:ext uri="{FF2B5EF4-FFF2-40B4-BE49-F238E27FC236}">
                <a16:creationId xmlns:a16="http://schemas.microsoft.com/office/drawing/2014/main" id="{96AB0CD7-1644-43C8-9ED5-88EF24944DD9}"/>
              </a:ext>
            </a:extLst>
          </p:cNvPr>
          <p:cNvSpPr/>
          <p:nvPr/>
        </p:nvSpPr>
        <p:spPr>
          <a:xfrm>
            <a:off x="0" y="6561413"/>
            <a:ext cx="12192000" cy="3026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accent4">
                  <a:lumMod val="7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44106496"/>
              </p:ext>
            </p:extLst>
          </p:nvPr>
        </p:nvGraphicFramePr>
        <p:xfrm>
          <a:off x="2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6" imgW="270" imgH="270" progId="TCLayout.ActiveDocument.1">
                  <p:embed/>
                </p:oleObj>
              </mc:Choice>
              <mc:Fallback>
                <p:oleObj name="Diapositiva de think-cell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0"/>
            </p:custDataLst>
          </p:nvPr>
        </p:nvSpPr>
        <p:spPr bwMode="auto">
          <a:xfrm>
            <a:off x="2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40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49871" y="77305"/>
            <a:ext cx="46807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765" cap="all" baseline="0" noProof="0">
                <a:solidFill>
                  <a:schemeClr val="accent4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49870" y="742628"/>
            <a:ext cx="11537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3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442646"/>
            <a:ext cx="11630454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1990" indent="-81990">
              <a:defRPr/>
            </a:pPr>
            <a:r>
              <a:rPr lang="en-US" sz="765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48356"/>
            <a:ext cx="10155320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72205" indent="-472205" defTabSz="1141852">
              <a:tabLst/>
            </a:pPr>
            <a:r>
              <a:rPr lang="en-US" sz="765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312453"/>
            <a:ext cx="5801188" cy="489161"/>
            <a:chOff x="915" y="728"/>
            <a:chExt cx="2686" cy="30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3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53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34951" y="291557"/>
            <a:ext cx="452496" cy="145424"/>
            <a:chOff x="8408178" y="285750"/>
            <a:chExt cx="332597" cy="14252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8178" y="285750"/>
              <a:ext cx="332597" cy="1425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41852">
                <a:buClr>
                  <a:schemeClr val="tx2"/>
                </a:buClr>
              </a:pPr>
              <a:r>
                <a:rPr lang="en-US" sz="765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8178" y="285750"/>
              <a:ext cx="0" cy="14252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8178" y="428278"/>
              <a:ext cx="33259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87" y="285077"/>
            <a:ext cx="749682" cy="1005835"/>
            <a:chOff x="7835905" y="279400"/>
            <a:chExt cx="734748" cy="98581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80748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80748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80748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80748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5" y="285075"/>
            <a:ext cx="1063916" cy="733717"/>
            <a:chOff x="7540629" y="279400"/>
            <a:chExt cx="1042722" cy="71911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80747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80747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80747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56" y="255920"/>
            <a:ext cx="817712" cy="1333054"/>
            <a:chOff x="7769225" y="250825"/>
            <a:chExt cx="801423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80748" cy="1730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80748" cy="1730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80748" cy="1730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80748" cy="1730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80748" cy="1730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9" y="6639740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722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2" y="1991017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EB8F58D9-5386-40A1-83C8-92538B71677A}"/>
              </a:ext>
            </a:extLst>
          </p:cNvPr>
          <p:cNvSpPr>
            <a:spLocks/>
          </p:cNvSpPr>
          <p:nvPr/>
        </p:nvSpPr>
        <p:spPr>
          <a:xfrm>
            <a:off x="11495662" y="6560370"/>
            <a:ext cx="440358" cy="297630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63" name="Slide Number">
            <a:extLst>
              <a:ext uri="{FF2B5EF4-FFF2-40B4-BE49-F238E27FC236}">
                <a16:creationId xmlns:a16="http://schemas.microsoft.com/office/drawing/2014/main" id="{0001E0F9-F841-4179-83AB-629C0D318BAA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32351"/>
            <a:ext cx="118622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765" smtClean="0">
                <a:solidFill>
                  <a:schemeClr val="bg1"/>
                </a:solidFill>
              </a:rPr>
              <a:pPr lvl="0"/>
              <a:t>‹Nº›</a:t>
            </a:fld>
            <a:endParaRPr lang="en-US" sz="765">
              <a:solidFill>
                <a:schemeClr val="bg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AE4C287A-7434-4E17-9EEE-B07B6568793B}"/>
              </a:ext>
            </a:extLst>
          </p:cNvPr>
          <p:cNvGrpSpPr/>
          <p:nvPr/>
        </p:nvGrpSpPr>
        <p:grpSpPr>
          <a:xfrm>
            <a:off x="10829031" y="6608571"/>
            <a:ext cx="618531" cy="165283"/>
            <a:chOff x="4797041" y="952089"/>
            <a:chExt cx="2281238" cy="609599"/>
          </a:xfrm>
        </p:grpSpPr>
        <p:sp>
          <p:nvSpPr>
            <p:cNvPr id="73" name="Freeform 538">
              <a:extLst>
                <a:ext uri="{FF2B5EF4-FFF2-40B4-BE49-F238E27FC236}">
                  <a16:creationId xmlns:a16="http://schemas.microsoft.com/office/drawing/2014/main" id="{F42844E3-FA3E-45AE-9B99-16AD552276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4" name="Freeform 539">
              <a:extLst>
                <a:ext uri="{FF2B5EF4-FFF2-40B4-BE49-F238E27FC236}">
                  <a16:creationId xmlns:a16="http://schemas.microsoft.com/office/drawing/2014/main" id="{6CC373D4-7D2A-47E3-B158-3797BAE3CC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5" name="Freeform 540">
              <a:extLst>
                <a:ext uri="{FF2B5EF4-FFF2-40B4-BE49-F238E27FC236}">
                  <a16:creationId xmlns:a16="http://schemas.microsoft.com/office/drawing/2014/main" id="{EE76D771-9744-40D7-91F3-7EE46F718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6" name="Freeform 541">
              <a:extLst>
                <a:ext uri="{FF2B5EF4-FFF2-40B4-BE49-F238E27FC236}">
                  <a16:creationId xmlns:a16="http://schemas.microsoft.com/office/drawing/2014/main" id="{2C624AAB-EEC8-48F1-B71D-113F37C7CE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7" name="Freeform 542">
              <a:extLst>
                <a:ext uri="{FF2B5EF4-FFF2-40B4-BE49-F238E27FC236}">
                  <a16:creationId xmlns:a16="http://schemas.microsoft.com/office/drawing/2014/main" id="{9F7706B4-407D-4EE9-85C0-1509EEF7D0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8" name="Freeform 543">
              <a:extLst>
                <a:ext uri="{FF2B5EF4-FFF2-40B4-BE49-F238E27FC236}">
                  <a16:creationId xmlns:a16="http://schemas.microsoft.com/office/drawing/2014/main" id="{D6DABB6B-85DC-4FA3-A00C-412C0C3FB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9" name="Freeform 544">
              <a:extLst>
                <a:ext uri="{FF2B5EF4-FFF2-40B4-BE49-F238E27FC236}">
                  <a16:creationId xmlns:a16="http://schemas.microsoft.com/office/drawing/2014/main" id="{F5793161-6CEC-4AEC-A378-50BB4043A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  <p:sp>
        <p:nvSpPr>
          <p:cNvPr id="3" name="Rectángulo 2">
            <a:extLst>
              <a:ext uri="{FF2B5EF4-FFF2-40B4-BE49-F238E27FC236}">
                <a16:creationId xmlns:a16="http://schemas.microsoft.com/office/drawing/2014/main" id="{DFDDA3E3-EB16-43BB-8453-E2A9DA132814}"/>
              </a:ext>
            </a:extLst>
          </p:cNvPr>
          <p:cNvSpPr/>
          <p:nvPr/>
        </p:nvSpPr>
        <p:spPr>
          <a:xfrm>
            <a:off x="0" y="-12404"/>
            <a:ext cx="12192000" cy="675373"/>
          </a:xfrm>
          <a:prstGeom prst="rect">
            <a:avLst/>
          </a:prstGeom>
          <a:solidFill>
            <a:srgbClr val="D9D9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7C31AA9-B767-8546-C8CD-E3053774DA5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1994547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  <p:sldLayoutId id="2147483953" r:id="rId12"/>
    <p:sldLayoutId id="2147483954" r:id="rId13"/>
    <p:sldLayoutId id="2147483955" r:id="rId14"/>
    <p:sldLayoutId id="2147483956" r:id="rId15"/>
    <p:sldLayoutId id="2147483957" r:id="rId16"/>
    <p:sldLayoutId id="2147483958" r:id="rId17"/>
  </p:sldLayoutIdLst>
  <p:txStyles>
    <p:titleStyle>
      <a:lvl1pPr algn="l" defTabSz="1141852" rtl="0" eaLnBrk="1" fontAlgn="base" hangingPunct="1">
        <a:spcBef>
          <a:spcPct val="0"/>
        </a:spcBef>
        <a:spcAft>
          <a:spcPct val="0"/>
        </a:spcAft>
        <a:tabLst>
          <a:tab pos="344175" algn="l"/>
        </a:tabLst>
        <a:defRPr sz="2487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2pPr>
      <a:lvl3pPr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3pPr>
      <a:lvl4pPr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4pPr>
      <a:lvl5pPr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5pPr>
      <a:lvl6pPr marL="583072"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6pPr>
      <a:lvl7pPr marL="1166146"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7pPr>
      <a:lvl8pPr marL="1749218"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8pPr>
      <a:lvl9pPr marL="2332293"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634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53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85931" indent="-182488" algn="l" defTabSz="85634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53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26953" indent="-237579" algn="l" defTabSz="85634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53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588783" indent="-148056" algn="l" defTabSz="85634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53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16181" indent="-123955" algn="l" defTabSz="85634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53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56241" indent="-166015" algn="l" defTabSz="11418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6pPr>
      <a:lvl7pPr marL="956241" indent="-166015" algn="l" defTabSz="11418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7pPr>
      <a:lvl8pPr marL="956241" indent="-166015" algn="l" defTabSz="11418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8pPr>
      <a:lvl9pPr marL="956241" indent="-166015" algn="l" defTabSz="11418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1pPr>
      <a:lvl2pPr marL="583072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2pPr>
      <a:lvl3pPr marL="1166146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3pPr>
      <a:lvl4pPr marL="1749218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4pPr>
      <a:lvl5pPr marL="2332293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5pPr>
      <a:lvl6pPr marL="2915365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6pPr>
      <a:lvl7pPr marL="3498439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3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8pPr>
      <a:lvl9pPr marL="4664587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ángulo 66">
            <a:extLst>
              <a:ext uri="{FF2B5EF4-FFF2-40B4-BE49-F238E27FC236}">
                <a16:creationId xmlns:a16="http://schemas.microsoft.com/office/drawing/2014/main" id="{96AB0CD7-1644-43C8-9ED5-88EF24944DD9}"/>
              </a:ext>
            </a:extLst>
          </p:cNvPr>
          <p:cNvSpPr/>
          <p:nvPr/>
        </p:nvSpPr>
        <p:spPr>
          <a:xfrm>
            <a:off x="0" y="6561413"/>
            <a:ext cx="12192000" cy="3026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accent4">
                  <a:lumMod val="7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40396277"/>
              </p:ext>
            </p:extLst>
          </p:nvPr>
        </p:nvGraphicFramePr>
        <p:xfrm>
          <a:off x="2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6" imgW="270" imgH="270" progId="TCLayout.ActiveDocument.1">
                  <p:embed/>
                </p:oleObj>
              </mc:Choice>
              <mc:Fallback>
                <p:oleObj name="Diapositiva de think-cell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0"/>
            </p:custDataLst>
          </p:nvPr>
        </p:nvSpPr>
        <p:spPr bwMode="auto">
          <a:xfrm>
            <a:off x="2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40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4" y="51837"/>
            <a:ext cx="1231563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41852" eaLnBrk="1"/>
            <a:endParaRPr lang="en-US" sz="574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49871" y="77305"/>
            <a:ext cx="46807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765" cap="all" baseline="0" noProof="0">
                <a:solidFill>
                  <a:schemeClr val="accent4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49870" y="742628"/>
            <a:ext cx="11537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3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442646"/>
            <a:ext cx="11630454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1990" indent="-81990">
              <a:defRPr/>
            </a:pPr>
            <a:r>
              <a:rPr lang="en-US" sz="765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48356"/>
            <a:ext cx="10155320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72205" indent="-472205" defTabSz="1141852">
              <a:tabLst/>
            </a:pPr>
            <a:r>
              <a:rPr lang="en-US" sz="765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312453"/>
            <a:ext cx="5801188" cy="489161"/>
            <a:chOff x="915" y="728"/>
            <a:chExt cx="2686" cy="30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3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53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34951" y="291557"/>
            <a:ext cx="452496" cy="145424"/>
            <a:chOff x="8408178" y="285750"/>
            <a:chExt cx="332597" cy="14252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8178" y="285750"/>
              <a:ext cx="332597" cy="1425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41852">
                <a:buClr>
                  <a:schemeClr val="tx2"/>
                </a:buClr>
              </a:pPr>
              <a:r>
                <a:rPr lang="en-US" sz="765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8178" y="285750"/>
              <a:ext cx="0" cy="14252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8178" y="428278"/>
              <a:ext cx="33259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87" y="285077"/>
            <a:ext cx="749682" cy="1005835"/>
            <a:chOff x="7835905" y="279400"/>
            <a:chExt cx="734748" cy="98581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80748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80748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80748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80748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5" y="285075"/>
            <a:ext cx="1063916" cy="733717"/>
            <a:chOff x="7540629" y="279400"/>
            <a:chExt cx="1042722" cy="71911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722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80747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80747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80747" cy="173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56" y="255920"/>
            <a:ext cx="817712" cy="1333054"/>
            <a:chOff x="7769225" y="250825"/>
            <a:chExt cx="801423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722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80748" cy="1730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80748" cy="1730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80748" cy="1730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80748" cy="1730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80748" cy="1730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47">
                <a:buClr>
                  <a:schemeClr val="tx2"/>
                </a:buClr>
              </a:pPr>
              <a:r>
                <a:rPr lang="en-US" sz="1147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9" y="6639740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722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2" y="1991017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EB8F58D9-5386-40A1-83C8-92538B71677A}"/>
              </a:ext>
            </a:extLst>
          </p:cNvPr>
          <p:cNvSpPr>
            <a:spLocks/>
          </p:cNvSpPr>
          <p:nvPr/>
        </p:nvSpPr>
        <p:spPr>
          <a:xfrm>
            <a:off x="11495662" y="6560370"/>
            <a:ext cx="440358" cy="297630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722">
              <a:solidFill>
                <a:schemeClr val="tx1"/>
              </a:solidFill>
            </a:endParaRPr>
          </a:p>
        </p:txBody>
      </p:sp>
      <p:sp>
        <p:nvSpPr>
          <p:cNvPr id="63" name="Slide Number">
            <a:extLst>
              <a:ext uri="{FF2B5EF4-FFF2-40B4-BE49-F238E27FC236}">
                <a16:creationId xmlns:a16="http://schemas.microsoft.com/office/drawing/2014/main" id="{0001E0F9-F841-4179-83AB-629C0D318BAA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32351"/>
            <a:ext cx="118622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765" smtClean="0">
                <a:solidFill>
                  <a:schemeClr val="bg1"/>
                </a:solidFill>
              </a:rPr>
              <a:pPr lvl="0"/>
              <a:t>‹Nº›</a:t>
            </a:fld>
            <a:endParaRPr lang="en-US" sz="765">
              <a:solidFill>
                <a:schemeClr val="bg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AE4C287A-7434-4E17-9EEE-B07B6568793B}"/>
              </a:ext>
            </a:extLst>
          </p:cNvPr>
          <p:cNvGrpSpPr/>
          <p:nvPr/>
        </p:nvGrpSpPr>
        <p:grpSpPr>
          <a:xfrm>
            <a:off x="10829031" y="6608571"/>
            <a:ext cx="618531" cy="165283"/>
            <a:chOff x="4797041" y="952089"/>
            <a:chExt cx="2281238" cy="609599"/>
          </a:xfrm>
        </p:grpSpPr>
        <p:sp>
          <p:nvSpPr>
            <p:cNvPr id="73" name="Freeform 538">
              <a:extLst>
                <a:ext uri="{FF2B5EF4-FFF2-40B4-BE49-F238E27FC236}">
                  <a16:creationId xmlns:a16="http://schemas.microsoft.com/office/drawing/2014/main" id="{F42844E3-FA3E-45AE-9B99-16AD552276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4" name="Freeform 539">
              <a:extLst>
                <a:ext uri="{FF2B5EF4-FFF2-40B4-BE49-F238E27FC236}">
                  <a16:creationId xmlns:a16="http://schemas.microsoft.com/office/drawing/2014/main" id="{6CC373D4-7D2A-47E3-B158-3797BAE3CC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5" name="Freeform 540">
              <a:extLst>
                <a:ext uri="{FF2B5EF4-FFF2-40B4-BE49-F238E27FC236}">
                  <a16:creationId xmlns:a16="http://schemas.microsoft.com/office/drawing/2014/main" id="{EE76D771-9744-40D7-91F3-7EE46F718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6" name="Freeform 541">
              <a:extLst>
                <a:ext uri="{FF2B5EF4-FFF2-40B4-BE49-F238E27FC236}">
                  <a16:creationId xmlns:a16="http://schemas.microsoft.com/office/drawing/2014/main" id="{2C624AAB-EEC8-48F1-B71D-113F37C7CE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7" name="Freeform 542">
              <a:extLst>
                <a:ext uri="{FF2B5EF4-FFF2-40B4-BE49-F238E27FC236}">
                  <a16:creationId xmlns:a16="http://schemas.microsoft.com/office/drawing/2014/main" id="{9F7706B4-407D-4EE9-85C0-1509EEF7D0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8" name="Freeform 543">
              <a:extLst>
                <a:ext uri="{FF2B5EF4-FFF2-40B4-BE49-F238E27FC236}">
                  <a16:creationId xmlns:a16="http://schemas.microsoft.com/office/drawing/2014/main" id="{D6DABB6B-85DC-4FA3-A00C-412C0C3FB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  <p:sp>
          <p:nvSpPr>
            <p:cNvPr id="79" name="Freeform 544">
              <a:extLst>
                <a:ext uri="{FF2B5EF4-FFF2-40B4-BE49-F238E27FC236}">
                  <a16:creationId xmlns:a16="http://schemas.microsoft.com/office/drawing/2014/main" id="{F5793161-6CEC-4AEC-A378-50BB4043A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22"/>
            </a:p>
          </p:txBody>
        </p:sp>
      </p:grpSp>
      <p:sp>
        <p:nvSpPr>
          <p:cNvPr id="3" name="Rectángulo 2">
            <a:extLst>
              <a:ext uri="{FF2B5EF4-FFF2-40B4-BE49-F238E27FC236}">
                <a16:creationId xmlns:a16="http://schemas.microsoft.com/office/drawing/2014/main" id="{DFDDA3E3-EB16-43BB-8453-E2A9DA132814}"/>
              </a:ext>
            </a:extLst>
          </p:cNvPr>
          <p:cNvSpPr/>
          <p:nvPr/>
        </p:nvSpPr>
        <p:spPr>
          <a:xfrm>
            <a:off x="0" y="-12404"/>
            <a:ext cx="12192000" cy="675373"/>
          </a:xfrm>
          <a:prstGeom prst="rect">
            <a:avLst/>
          </a:prstGeom>
          <a:solidFill>
            <a:srgbClr val="D9D9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0652E992-A483-EC2C-0AB7-AEB6FE5CBBB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11748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  <p:sldLayoutId id="2147483972" r:id="rId12"/>
    <p:sldLayoutId id="2147483973" r:id="rId13"/>
    <p:sldLayoutId id="2147483974" r:id="rId14"/>
    <p:sldLayoutId id="2147483975" r:id="rId15"/>
    <p:sldLayoutId id="2147483976" r:id="rId16"/>
    <p:sldLayoutId id="2147483977" r:id="rId17"/>
  </p:sldLayoutIdLst>
  <p:txStyles>
    <p:titleStyle>
      <a:lvl1pPr algn="l" defTabSz="1141852" rtl="0" eaLnBrk="1" fontAlgn="base" hangingPunct="1">
        <a:spcBef>
          <a:spcPct val="0"/>
        </a:spcBef>
        <a:spcAft>
          <a:spcPct val="0"/>
        </a:spcAft>
        <a:tabLst>
          <a:tab pos="344175" algn="l"/>
        </a:tabLst>
        <a:defRPr sz="2487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2pPr>
      <a:lvl3pPr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3pPr>
      <a:lvl4pPr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4pPr>
      <a:lvl5pPr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5pPr>
      <a:lvl6pPr marL="583072"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6pPr>
      <a:lvl7pPr marL="1166146"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7pPr>
      <a:lvl8pPr marL="1749218"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8pPr>
      <a:lvl9pPr marL="2332293" algn="l" defTabSz="1141852" rtl="0" eaLnBrk="1" fontAlgn="base" hangingPunct="1">
        <a:spcBef>
          <a:spcPct val="0"/>
        </a:spcBef>
        <a:spcAft>
          <a:spcPct val="0"/>
        </a:spcAft>
        <a:defRPr sz="2422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634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53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85931" indent="-182488" algn="l" defTabSz="85634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53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26953" indent="-237579" algn="l" defTabSz="85634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53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588783" indent="-148056" algn="l" defTabSz="85634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53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16181" indent="-123955" algn="l" defTabSz="85634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53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56241" indent="-166015" algn="l" defTabSz="11418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6pPr>
      <a:lvl7pPr marL="956241" indent="-166015" algn="l" defTabSz="11418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7pPr>
      <a:lvl8pPr marL="956241" indent="-166015" algn="l" defTabSz="11418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8pPr>
      <a:lvl9pPr marL="956241" indent="-166015" algn="l" defTabSz="11418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1pPr>
      <a:lvl2pPr marL="583072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2pPr>
      <a:lvl3pPr marL="1166146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3pPr>
      <a:lvl4pPr marL="1749218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4pPr>
      <a:lvl5pPr marL="2332293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5pPr>
      <a:lvl6pPr marL="2915365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6pPr>
      <a:lvl7pPr marL="3498439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3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8pPr>
      <a:lvl9pPr marL="4664587" algn="l" defTabSz="1166146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96605468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2" imgW="270" imgH="270" progId="TCLayout.ActiveDocument.1">
                  <p:embed/>
                </p:oleObj>
              </mc:Choice>
              <mc:Fallback>
                <p:oleObj name="Diapositiva de think-cell" r:id="rId3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6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49870" y="234865"/>
            <a:ext cx="11537600" cy="408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49870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>
                <a:solidFill>
                  <a:schemeClr val="accent4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49870" y="742628"/>
            <a:ext cx="11537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37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EB8F58D9-5386-40A1-83C8-92538B71677A}"/>
              </a:ext>
            </a:extLst>
          </p:cNvPr>
          <p:cNvSpPr>
            <a:spLocks/>
          </p:cNvSpPr>
          <p:nvPr/>
        </p:nvSpPr>
        <p:spPr>
          <a:xfrm>
            <a:off x="11495662" y="6560370"/>
            <a:ext cx="440358" cy="297630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3" name="Slide Number">
            <a:extLst>
              <a:ext uri="{FF2B5EF4-FFF2-40B4-BE49-F238E27FC236}">
                <a16:creationId xmlns:a16="http://schemas.microsoft.com/office/drawing/2014/main" id="{0001E0F9-F841-4179-83AB-629C0D318BAA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27163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Nº›</a:t>
            </a:fld>
            <a:endParaRPr lang="en-US" sz="816">
              <a:solidFill>
                <a:schemeClr val="bg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AE4C287A-7434-4E17-9EEE-B07B6568793B}"/>
              </a:ext>
            </a:extLst>
          </p:cNvPr>
          <p:cNvGrpSpPr/>
          <p:nvPr/>
        </p:nvGrpSpPr>
        <p:grpSpPr>
          <a:xfrm>
            <a:off x="10829030" y="6608570"/>
            <a:ext cx="618531" cy="165283"/>
            <a:chOff x="4797041" y="952089"/>
            <a:chExt cx="2281238" cy="609599"/>
          </a:xfrm>
        </p:grpSpPr>
        <p:sp>
          <p:nvSpPr>
            <p:cNvPr id="73" name="Freeform 538">
              <a:extLst>
                <a:ext uri="{FF2B5EF4-FFF2-40B4-BE49-F238E27FC236}">
                  <a16:creationId xmlns:a16="http://schemas.microsoft.com/office/drawing/2014/main" id="{F42844E3-FA3E-45AE-9B99-16AD552276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4" name="Freeform 539">
              <a:extLst>
                <a:ext uri="{FF2B5EF4-FFF2-40B4-BE49-F238E27FC236}">
                  <a16:creationId xmlns:a16="http://schemas.microsoft.com/office/drawing/2014/main" id="{6CC373D4-7D2A-47E3-B158-3797BAE3CC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5" name="Freeform 540">
              <a:extLst>
                <a:ext uri="{FF2B5EF4-FFF2-40B4-BE49-F238E27FC236}">
                  <a16:creationId xmlns:a16="http://schemas.microsoft.com/office/drawing/2014/main" id="{EE76D771-9744-40D7-91F3-7EE46F718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6" name="Freeform 541">
              <a:extLst>
                <a:ext uri="{FF2B5EF4-FFF2-40B4-BE49-F238E27FC236}">
                  <a16:creationId xmlns:a16="http://schemas.microsoft.com/office/drawing/2014/main" id="{2C624AAB-EEC8-48F1-B71D-113F37C7CE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7" name="Freeform 542">
              <a:extLst>
                <a:ext uri="{FF2B5EF4-FFF2-40B4-BE49-F238E27FC236}">
                  <a16:creationId xmlns:a16="http://schemas.microsoft.com/office/drawing/2014/main" id="{9F7706B4-407D-4EE9-85C0-1509EEF7D0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8" name="Freeform 543">
              <a:extLst>
                <a:ext uri="{FF2B5EF4-FFF2-40B4-BE49-F238E27FC236}">
                  <a16:creationId xmlns:a16="http://schemas.microsoft.com/office/drawing/2014/main" id="{D6DABB6B-85DC-4FA3-A00C-412C0C3FB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  <p:sp>
          <p:nvSpPr>
            <p:cNvPr id="79" name="Freeform 544">
              <a:extLst>
                <a:ext uri="{FF2B5EF4-FFF2-40B4-BE49-F238E27FC236}">
                  <a16:creationId xmlns:a16="http://schemas.microsoft.com/office/drawing/2014/main" id="{F5793161-6CEC-4AEC-A378-50BB4043A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837"/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9C8F9751-DFB4-B623-39F4-47CCD84CDDE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562890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  <p:sldLayoutId id="2147484012" r:id="rId10"/>
    <p:sldLayoutId id="2147484013" r:id="rId11"/>
    <p:sldLayoutId id="2147484015" r:id="rId12"/>
    <p:sldLayoutId id="2147484016" r:id="rId13"/>
  </p:sldLayoutIdLst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65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07184FD4-704B-4B5A-8FC0-D1EF4039C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78697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473" imgH="473" progId="TCLayout.ActiveDocument.1">
                  <p:embed/>
                </p:oleObj>
              </mc:Choice>
              <mc:Fallback>
                <p:oleObj name="Diapositiva de think-cell" r:id="rId15" imgW="473" imgH="473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07184FD4-704B-4B5A-8FC0-D1EF4039C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7739"/>
            <a:fld id="{41325116-9077-4A48-8B35-19E31762FCCE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1C586B4-19DC-4D6F-A58D-4F61104285B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3806482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hf hdr="0" dt="0"/>
  <p:txStyles>
    <p:titleStyle>
      <a:lvl1pPr algn="l" defTabSz="857169" rtl="0" eaLnBrk="1" latinLnBrk="0" hangingPunct="1">
        <a:lnSpc>
          <a:spcPct val="90000"/>
        </a:lnSpc>
        <a:spcBef>
          <a:spcPct val="0"/>
        </a:spcBef>
        <a:buNone/>
        <a:defRPr sz="3149" b="1" i="1" kern="1200">
          <a:solidFill>
            <a:srgbClr val="002D74"/>
          </a:solidFill>
          <a:latin typeface="Flexo" pitchFamily="50" charset="0"/>
          <a:ea typeface="+mj-ea"/>
          <a:cs typeface="+mj-cs"/>
        </a:defRPr>
      </a:lvl1pPr>
    </p:titleStyle>
    <p:bodyStyle>
      <a:lvl1pPr marL="214292" indent="-214292" algn="l" defTabSz="857169" rtl="0" eaLnBrk="1" latinLnBrk="0" hangingPunct="1">
        <a:lnSpc>
          <a:spcPct val="90000"/>
        </a:lnSpc>
        <a:spcBef>
          <a:spcPts val="938"/>
        </a:spcBef>
        <a:buFont typeface="Arial" panose="020B0604020202020204" pitchFamily="34" charset="0"/>
        <a:buChar char="•"/>
        <a:defRPr sz="1350" kern="1200">
          <a:solidFill>
            <a:srgbClr val="002D74"/>
          </a:solidFill>
          <a:latin typeface="Flexo" pitchFamily="50" charset="0"/>
          <a:ea typeface="+mn-ea"/>
          <a:cs typeface="+mn-cs"/>
        </a:defRPr>
      </a:lvl1pPr>
      <a:lvl2pPr marL="642877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350" kern="1200">
          <a:solidFill>
            <a:srgbClr val="002D74"/>
          </a:solidFill>
          <a:latin typeface="Flexo" pitchFamily="50" charset="0"/>
          <a:ea typeface="+mn-ea"/>
          <a:cs typeface="+mn-cs"/>
        </a:defRPr>
      </a:lvl2pPr>
      <a:lvl3pPr marL="1071461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350" kern="1200">
          <a:solidFill>
            <a:srgbClr val="002D74"/>
          </a:solidFill>
          <a:latin typeface="Flexo" pitchFamily="50" charset="0"/>
          <a:ea typeface="+mn-ea"/>
          <a:cs typeface="+mn-cs"/>
        </a:defRPr>
      </a:lvl3pPr>
      <a:lvl4pPr marL="1500046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350" kern="1200">
          <a:solidFill>
            <a:srgbClr val="002D74"/>
          </a:solidFill>
          <a:latin typeface="Flexo" pitchFamily="50" charset="0"/>
          <a:ea typeface="+mn-ea"/>
          <a:cs typeface="+mn-cs"/>
        </a:defRPr>
      </a:lvl4pPr>
      <a:lvl5pPr marL="1928630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350" kern="1200">
          <a:solidFill>
            <a:srgbClr val="002D74"/>
          </a:solidFill>
          <a:latin typeface="Flexo" pitchFamily="50" charset="0"/>
          <a:ea typeface="+mn-ea"/>
          <a:cs typeface="+mn-cs"/>
        </a:defRPr>
      </a:lvl5pPr>
      <a:lvl6pPr marL="2357215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687" kern="1200">
          <a:solidFill>
            <a:schemeClr val="tx1"/>
          </a:solidFill>
          <a:latin typeface="+mn-lt"/>
          <a:ea typeface="+mn-ea"/>
          <a:cs typeface="+mn-cs"/>
        </a:defRPr>
      </a:lvl6pPr>
      <a:lvl7pPr marL="2785800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687" kern="1200">
          <a:solidFill>
            <a:schemeClr val="tx1"/>
          </a:solidFill>
          <a:latin typeface="+mn-lt"/>
          <a:ea typeface="+mn-ea"/>
          <a:cs typeface="+mn-cs"/>
        </a:defRPr>
      </a:lvl7pPr>
      <a:lvl8pPr marL="3214384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687" kern="1200">
          <a:solidFill>
            <a:schemeClr val="tx1"/>
          </a:solidFill>
          <a:latin typeface="+mn-lt"/>
          <a:ea typeface="+mn-ea"/>
          <a:cs typeface="+mn-cs"/>
        </a:defRPr>
      </a:lvl8pPr>
      <a:lvl9pPr marL="3642969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6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1pPr>
      <a:lvl2pPr marL="428585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2pPr>
      <a:lvl3pPr marL="857169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3pPr>
      <a:lvl4pPr marL="1285754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4pPr>
      <a:lvl5pPr marL="1714339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5pPr>
      <a:lvl6pPr marL="2142923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6pPr>
      <a:lvl7pPr marL="2571508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7pPr>
      <a:lvl8pPr marL="3000092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8pPr>
      <a:lvl9pPr marL="3428677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">
            <a:extLst>
              <a:ext uri="{FF2B5EF4-FFF2-40B4-BE49-F238E27FC236}">
                <a16:creationId xmlns:a16="http://schemas.microsoft.com/office/drawing/2014/main" id="{0EFCD942-3499-44D7-80B6-9722EDD8E915}"/>
              </a:ext>
            </a:extLst>
          </p:cNvPr>
          <p:cNvSpPr txBox="1">
            <a:spLocks/>
          </p:cNvSpPr>
          <p:nvPr/>
        </p:nvSpPr>
        <p:spPr>
          <a:xfrm>
            <a:off x="3258514" y="2271184"/>
            <a:ext cx="5862515" cy="15307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85716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s-ES" sz="2879" b="1" i="1" dirty="0">
                <a:solidFill>
                  <a:srgbClr val="002D74"/>
                </a:solidFill>
                <a:latin typeface="Arial Narrow" panose="020B0606020202030204" pitchFamily="34" charset="0"/>
                <a:cs typeface="+mj-cs"/>
              </a:rPr>
              <a:t>Arquitectura de [Acelerador </a:t>
            </a:r>
            <a:r>
              <a:rPr lang="es-ES" sz="2879" b="1" i="1" dirty="0" err="1">
                <a:solidFill>
                  <a:srgbClr val="002D74"/>
                </a:solidFill>
                <a:latin typeface="Arial Narrow" panose="020B0606020202030204" pitchFamily="34" charset="0"/>
                <a:cs typeface="+mj-cs"/>
              </a:rPr>
              <a:t>Databricks</a:t>
            </a:r>
            <a:r>
              <a:rPr lang="es-ES" sz="2879" b="1" i="1" dirty="0">
                <a:solidFill>
                  <a:srgbClr val="002D74"/>
                </a:solidFill>
                <a:latin typeface="Arial Narrow" panose="020B0606020202030204" pitchFamily="34" charset="0"/>
                <a:cs typeface="+mj-cs"/>
              </a:rPr>
              <a:t> EVODWH]</a:t>
            </a:r>
            <a:endParaRPr lang="es-PE" sz="2879" b="1" i="1" dirty="0">
              <a:solidFill>
                <a:srgbClr val="002D74"/>
              </a:solidFill>
              <a:latin typeface="Arial Narrow" panose="020B0606020202030204" pitchFamily="34" charset="0"/>
              <a:cs typeface="+mj-cs"/>
            </a:endParaRP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CE3A5230-4AA6-BC1F-6F3B-5218976B9F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5E84D23D-3142-4108-AF4F-4EE997E9B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defTabSz="877739">
              <a:spcAft>
                <a:spcPts val="600"/>
              </a:spcAft>
            </a:pPr>
            <a:fld id="{41325116-9077-4A48-8B35-19E31762FCCE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>
                <a:spcAft>
                  <a:spcPts val="600"/>
                </a:spcAft>
              </a:pPr>
              <a:t>1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942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F0301F8D-352C-46D3-8E9C-47CA1766E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 dirty="0">
              <a:solidFill>
                <a:prstClr val="black"/>
              </a:solidFill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31B68FC-C6AB-45B6-8D37-9F2FE7B8A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white"/>
                </a:solidFill>
              </a:rPr>
              <a:pPr defTabSz="877739"/>
              <a:t>2</a:t>
            </a:fld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DD47993F-12AD-4C72-A93B-293AD1165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Arial Narrow" panose="020B0606020202030204" pitchFamily="34" charset="0"/>
              </a:rPr>
              <a:t>Iniciativa: </a:t>
            </a:r>
            <a:r>
              <a:rPr lang="es-PE" dirty="0">
                <a:latin typeface="Arial Narrow" panose="020B0606020202030204" pitchFamily="34" charset="0"/>
              </a:rPr>
              <a:t>[Nombre de iniciativa]</a:t>
            </a:r>
          </a:p>
        </p:txBody>
      </p:sp>
      <p:sp>
        <p:nvSpPr>
          <p:cNvPr id="9" name="Flecha: pentágono 8">
            <a:extLst>
              <a:ext uri="{FF2B5EF4-FFF2-40B4-BE49-F238E27FC236}">
                <a16:creationId xmlns:a16="http://schemas.microsoft.com/office/drawing/2014/main" id="{EEE077D7-D05D-6344-7FB7-0EFB092EA651}"/>
              </a:ext>
            </a:extLst>
          </p:cNvPr>
          <p:cNvSpPr/>
          <p:nvPr/>
        </p:nvSpPr>
        <p:spPr>
          <a:xfrm>
            <a:off x="328773" y="998209"/>
            <a:ext cx="5709003" cy="688368"/>
          </a:xfrm>
          <a:prstGeom prst="homePlat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latin typeface="Arial Narrow" panose="020B0606020202030204" pitchFamily="34" charset="0"/>
              </a:rPr>
              <a:t>SITUACIÓN</a:t>
            </a:r>
            <a:endParaRPr lang="es-PE" dirty="0">
              <a:latin typeface="Arial Narrow" panose="020B0606020202030204" pitchFamily="34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73471457-E3EE-892A-ABE9-09759C68A85E}"/>
              </a:ext>
            </a:extLst>
          </p:cNvPr>
          <p:cNvSpPr/>
          <p:nvPr/>
        </p:nvSpPr>
        <p:spPr>
          <a:xfrm>
            <a:off x="328773" y="1785135"/>
            <a:ext cx="2691827" cy="16130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MX" sz="1200" b="1" dirty="0">
                <a:solidFill>
                  <a:schemeClr val="tx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UAL:</a:t>
            </a:r>
            <a:endParaRPr lang="es-MX" sz="1200" dirty="0">
              <a:solidFill>
                <a:schemeClr val="tx1"/>
              </a:solidFill>
              <a:effectLst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es-MX" sz="1200" dirty="0">
                <a:solidFill>
                  <a:schemeClr val="tx1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bajo operativo y manual por parte de los custodios para elaborar trazabilidad y cuadre de información para el proyecto DWH.</a:t>
            </a:r>
            <a:endParaRPr lang="es-PE" sz="1200" dirty="0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74BAD9CE-488C-0E27-3C64-698ACE447E01}"/>
              </a:ext>
            </a:extLst>
          </p:cNvPr>
          <p:cNvSpPr/>
          <p:nvPr/>
        </p:nvSpPr>
        <p:spPr>
          <a:xfrm>
            <a:off x="3111359" y="1785135"/>
            <a:ext cx="2806557" cy="16130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Wingdings" panose="05000000000000000000" pitchFamily="2" charset="2"/>
              <a:buChar char="q"/>
            </a:pPr>
            <a:endParaRPr lang="es-PE" sz="12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just"/>
            <a:endParaRPr lang="es-PE" sz="12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just"/>
            <a:endParaRPr lang="es-PE" sz="1200" b="1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es-PE" sz="120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DESEADA:</a:t>
            </a:r>
            <a:endParaRPr lang="es-PE" sz="12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es-PE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Se busca automatizar el proceso operativo actual hasta alcanzar un 50% de reducción de tiempo en la ejecución del proceso.</a:t>
            </a:r>
          </a:p>
          <a:p>
            <a:pPr marL="171450" indent="-171450" algn="just">
              <a:buFont typeface="Wingdings" panose="05000000000000000000" pitchFamily="2" charset="2"/>
              <a:buChar char="q"/>
            </a:pPr>
            <a:endParaRPr lang="es-PE" sz="12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q"/>
            </a:pPr>
            <a:endParaRPr lang="es-PE" sz="12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Flecha: pentágono 12">
            <a:extLst>
              <a:ext uri="{FF2B5EF4-FFF2-40B4-BE49-F238E27FC236}">
                <a16:creationId xmlns:a16="http://schemas.microsoft.com/office/drawing/2014/main" id="{24193F83-EB9A-4398-FADE-3CB05611A066}"/>
              </a:ext>
            </a:extLst>
          </p:cNvPr>
          <p:cNvSpPr/>
          <p:nvPr/>
        </p:nvSpPr>
        <p:spPr>
          <a:xfrm>
            <a:off x="6390528" y="998209"/>
            <a:ext cx="5511943" cy="688368"/>
          </a:xfrm>
          <a:prstGeom prst="homePlat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latin typeface="Arial Narrow" panose="020B0606020202030204" pitchFamily="34" charset="0"/>
              </a:rPr>
              <a:t>IMPACTO</a:t>
            </a:r>
            <a:endParaRPr lang="es-PE" dirty="0">
              <a:latin typeface="Arial Narrow" panose="020B0606020202030204" pitchFamily="34" charset="0"/>
            </a:endParaRP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4A3D72D3-D46F-E8F1-804F-268E798704F9}"/>
              </a:ext>
            </a:extLst>
          </p:cNvPr>
          <p:cNvCxnSpPr/>
          <p:nvPr/>
        </p:nvCxnSpPr>
        <p:spPr>
          <a:xfrm>
            <a:off x="6154222" y="941702"/>
            <a:ext cx="0" cy="2633705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ángulo 15">
            <a:extLst>
              <a:ext uri="{FF2B5EF4-FFF2-40B4-BE49-F238E27FC236}">
                <a16:creationId xmlns:a16="http://schemas.microsoft.com/office/drawing/2014/main" id="{2D7BD898-5442-4ED3-53CB-4DF33D15C083}"/>
              </a:ext>
            </a:extLst>
          </p:cNvPr>
          <p:cNvSpPr/>
          <p:nvPr/>
        </p:nvSpPr>
        <p:spPr>
          <a:xfrm>
            <a:off x="6390530" y="1821989"/>
            <a:ext cx="2691827" cy="55737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es-MX" sz="1200" b="1" dirty="0">
                <a:solidFill>
                  <a:schemeClr val="tx1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: </a:t>
            </a:r>
            <a:r>
              <a:rPr lang="es-MX" sz="1200" dirty="0">
                <a:solidFill>
                  <a:schemeClr val="tx1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jora</a:t>
            </a:r>
          </a:p>
          <a:p>
            <a:pPr algn="ctr"/>
            <a:endParaRPr lang="es-PE" sz="1200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C560A15-C66A-B2BC-2CB0-F425FBCCF200}"/>
              </a:ext>
            </a:extLst>
          </p:cNvPr>
          <p:cNvSpPr/>
          <p:nvPr/>
        </p:nvSpPr>
        <p:spPr>
          <a:xfrm>
            <a:off x="6390529" y="2444859"/>
            <a:ext cx="5511942" cy="55737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MX" sz="120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Criterio: Reducción de horas consumidas en trabajos operativos.</a:t>
            </a:r>
            <a:endParaRPr lang="es-PE" sz="12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DFCA64DC-A37F-E0C4-40BE-15249A46656C}"/>
              </a:ext>
            </a:extLst>
          </p:cNvPr>
          <p:cNvSpPr/>
          <p:nvPr/>
        </p:nvSpPr>
        <p:spPr>
          <a:xfrm>
            <a:off x="9210650" y="1804008"/>
            <a:ext cx="2691826" cy="55737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MX" sz="120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Valor monetario: </a:t>
            </a:r>
            <a:r>
              <a:rPr lang="es-ES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S/ </a:t>
            </a:r>
            <a:r>
              <a:rPr lang="es-MX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MM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0CD383CF-7CD5-25F4-9BE7-8F8D8690445C}"/>
              </a:ext>
            </a:extLst>
          </p:cNvPr>
          <p:cNvCxnSpPr>
            <a:cxnSpLocks/>
          </p:cNvCxnSpPr>
          <p:nvPr/>
        </p:nvCxnSpPr>
        <p:spPr>
          <a:xfrm flipH="1">
            <a:off x="210865" y="3575407"/>
            <a:ext cx="11760182" cy="34343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lecha: pentágono 27">
            <a:extLst>
              <a:ext uri="{FF2B5EF4-FFF2-40B4-BE49-F238E27FC236}">
                <a16:creationId xmlns:a16="http://schemas.microsoft.com/office/drawing/2014/main" id="{2D4BF701-DE57-2D87-A9E8-165B2A99FF12}"/>
              </a:ext>
            </a:extLst>
          </p:cNvPr>
          <p:cNvSpPr/>
          <p:nvPr/>
        </p:nvSpPr>
        <p:spPr>
          <a:xfrm>
            <a:off x="304107" y="3730977"/>
            <a:ext cx="11573698" cy="688368"/>
          </a:xfrm>
          <a:prstGeom prst="homePlat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latin typeface="Arial Narrow" panose="020B0606020202030204" pitchFamily="34" charset="0"/>
              </a:rPr>
              <a:t>INFORMACIÓN ADICIONAL</a:t>
            </a:r>
            <a:endParaRPr lang="es-PE" dirty="0">
              <a:latin typeface="Arial Narrow" panose="020B0606020202030204" pitchFamily="34" charset="0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2FE3CEE4-4ED6-278C-B8A7-48B410628956}"/>
              </a:ext>
            </a:extLst>
          </p:cNvPr>
          <p:cNvSpPr/>
          <p:nvPr/>
        </p:nvSpPr>
        <p:spPr>
          <a:xfrm>
            <a:off x="304107" y="4488190"/>
            <a:ext cx="11559120" cy="16245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PE" sz="12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D4303343-1F08-2E68-A819-97BA055D8DCC}"/>
              </a:ext>
            </a:extLst>
          </p:cNvPr>
          <p:cNvSpPr txBox="1"/>
          <p:nvPr/>
        </p:nvSpPr>
        <p:spPr>
          <a:xfrm>
            <a:off x="350413" y="5495334"/>
            <a:ext cx="36567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ES" dirty="0">
                <a:latin typeface="Arial Narrow" panose="020B0606020202030204" pitchFamily="34" charset="0"/>
              </a:rPr>
              <a:t>Fecha límite de la solución transitoria:</a:t>
            </a:r>
            <a:endParaRPr lang="es-PE" dirty="0">
              <a:latin typeface="Arial Narrow" panose="020B0606020202030204" pitchFamily="34" charset="0"/>
            </a:endParaRP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0E7E2325-3F10-AA3C-E833-9F7809C38218}"/>
              </a:ext>
            </a:extLst>
          </p:cNvPr>
          <p:cNvSpPr/>
          <p:nvPr/>
        </p:nvSpPr>
        <p:spPr>
          <a:xfrm>
            <a:off x="2712375" y="5051406"/>
            <a:ext cx="308225" cy="2709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schemeClr val="tx1"/>
              </a:solidFill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CD9455B0-EA16-0F11-2D9F-282BBC0F2305}"/>
              </a:ext>
            </a:extLst>
          </p:cNvPr>
          <p:cNvSpPr txBox="1"/>
          <p:nvPr/>
        </p:nvSpPr>
        <p:spPr>
          <a:xfrm>
            <a:off x="328773" y="4513390"/>
            <a:ext cx="3647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ES" dirty="0">
                <a:latin typeface="Arial Narrow" panose="020B0606020202030204" pitchFamily="34" charset="0"/>
              </a:rPr>
              <a:t>Fecha de inicio de la implementación:</a:t>
            </a:r>
            <a:endParaRPr lang="es-PE" dirty="0">
              <a:latin typeface="Arial Narrow" panose="020B0606020202030204" pitchFamily="34" charset="0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DC7D90AB-FB71-E2C2-B732-BF6E36DE421C}"/>
              </a:ext>
            </a:extLst>
          </p:cNvPr>
          <p:cNvSpPr txBox="1"/>
          <p:nvPr/>
        </p:nvSpPr>
        <p:spPr>
          <a:xfrm>
            <a:off x="7390541" y="4574133"/>
            <a:ext cx="4332272" cy="46166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2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tiene dependencia de insumos que estarán el Q[X].</a:t>
            </a:r>
            <a:endParaRPr lang="es-MX" sz="1200" dirty="0">
              <a:effectLst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es-PE" sz="1200" dirty="0">
              <a:latin typeface="Arial Narrow" panose="020B0606020202030204" pitchFamily="34" charset="0"/>
            </a:endParaRP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E1187EC1-7F08-AB05-27FC-EE03830BB470}"/>
              </a:ext>
            </a:extLst>
          </p:cNvPr>
          <p:cNvSpPr/>
          <p:nvPr/>
        </p:nvSpPr>
        <p:spPr>
          <a:xfrm>
            <a:off x="3976285" y="4595540"/>
            <a:ext cx="1530663" cy="2282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Q[X]</a:t>
            </a:r>
            <a:endParaRPr lang="es-PE" dirty="0">
              <a:solidFill>
                <a:schemeClr val="tx1"/>
              </a:solidFill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A808EF53-A3D9-5279-690A-379A2E27B560}"/>
              </a:ext>
            </a:extLst>
          </p:cNvPr>
          <p:cNvSpPr txBox="1"/>
          <p:nvPr/>
        </p:nvSpPr>
        <p:spPr>
          <a:xfrm>
            <a:off x="5650962" y="4520447"/>
            <a:ext cx="1739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ES" dirty="0">
                <a:latin typeface="Arial Narrow" panose="020B0606020202030204" pitchFamily="34" charset="0"/>
              </a:rPr>
              <a:t>Dependencias:</a:t>
            </a:r>
            <a:endParaRPr lang="es-PE" dirty="0">
              <a:latin typeface="Arial Narrow" panose="020B0606020202030204" pitchFamily="34" charset="0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82104C6A-91DC-F776-993A-478D34B5D301}"/>
              </a:ext>
            </a:extLst>
          </p:cNvPr>
          <p:cNvSpPr txBox="1"/>
          <p:nvPr/>
        </p:nvSpPr>
        <p:spPr>
          <a:xfrm>
            <a:off x="339046" y="4986564"/>
            <a:ext cx="24336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ES" dirty="0">
                <a:latin typeface="Arial Narrow" panose="020B0606020202030204" pitchFamily="34" charset="0"/>
              </a:rPr>
              <a:t>Arquitectura transitoria:</a:t>
            </a:r>
            <a:endParaRPr lang="es-PE" dirty="0">
              <a:latin typeface="Arial Narrow" panose="020B0606020202030204" pitchFamily="34" charset="0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9B7516C8-CFA0-27E3-54CF-0B0F08BFB2A5}"/>
              </a:ext>
            </a:extLst>
          </p:cNvPr>
          <p:cNvSpPr/>
          <p:nvPr/>
        </p:nvSpPr>
        <p:spPr>
          <a:xfrm>
            <a:off x="3975925" y="5541501"/>
            <a:ext cx="1941991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just"/>
            <a:endParaRPr lang="es-PE" sz="12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2214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F0301F8D-352C-46D3-8E9C-47CA1766E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0865" y="6378058"/>
            <a:ext cx="10379884" cy="365125"/>
          </a:xfrm>
        </p:spPr>
        <p:txBody>
          <a:bodyPr/>
          <a:lstStyle/>
          <a:p>
            <a:endParaRPr lang="es-ES_tradnl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31B68FC-C6AB-45B6-8D37-9F2FE7B8A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814" y="6368600"/>
            <a:ext cx="463662" cy="365125"/>
          </a:xfrm>
        </p:spPr>
        <p:txBody>
          <a:bodyPr/>
          <a:lstStyle/>
          <a:p>
            <a:fld id="{41325116-9077-4A48-8B35-19E31762FCCE}" type="slidenum">
              <a:rPr lang="es-ES_tradnl" smtClean="0"/>
              <a:pPr/>
              <a:t>3</a:t>
            </a:fld>
            <a:endParaRPr lang="es-ES_tradnl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DD47993F-12AD-4C72-A93B-293AD1165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53" y="191426"/>
            <a:ext cx="11750094" cy="582368"/>
          </a:xfrm>
        </p:spPr>
        <p:txBody>
          <a:bodyPr/>
          <a:lstStyle/>
          <a:p>
            <a:r>
              <a:rPr lang="es-PE" dirty="0"/>
              <a:t>Diseño de estrategia de datos</a:t>
            </a:r>
          </a:p>
        </p:txBody>
      </p:sp>
    </p:spTree>
    <p:extLst>
      <p:ext uri="{BB962C8B-B14F-4D97-AF65-F5344CB8AC3E}">
        <p14:creationId xmlns:p14="http://schemas.microsoft.com/office/powerpoint/2010/main" val="35164921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F0301F8D-352C-46D3-8E9C-47CA1766E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 dirty="0">
              <a:solidFill>
                <a:prstClr val="black"/>
              </a:solidFill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31B68FC-C6AB-45B6-8D37-9F2FE7B8A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white"/>
                </a:solidFill>
              </a:rPr>
              <a:pPr defTabSz="877739"/>
              <a:t>4</a:t>
            </a:fld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E192FF19-E93B-A1CD-F213-6488D5B0E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53" y="191426"/>
            <a:ext cx="11750094" cy="582368"/>
          </a:xfrm>
        </p:spPr>
        <p:txBody>
          <a:bodyPr/>
          <a:lstStyle/>
          <a:p>
            <a:r>
              <a:rPr lang="pt-BR" dirty="0" err="1">
                <a:latin typeface="Arial Narrow" panose="020B0606020202030204" pitchFamily="34" charset="0"/>
              </a:rPr>
              <a:t>Arquitectura</a:t>
            </a:r>
            <a:r>
              <a:rPr lang="pt-BR" dirty="0">
                <a:latin typeface="Arial Narrow" panose="020B0606020202030204" pitchFamily="34" charset="0"/>
              </a:rPr>
              <a:t> </a:t>
            </a:r>
            <a:r>
              <a:rPr lang="es-ES" dirty="0">
                <a:latin typeface="Arial Narrow" panose="020B0606020202030204" pitchFamily="34" charset="0"/>
              </a:rPr>
              <a:t>AS IS – [Iniciativa o Nombre de Proyecto]</a:t>
            </a:r>
            <a:endParaRPr lang="es-PE" dirty="0">
              <a:latin typeface="Arial Narrow" panose="020B060602020203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C8A180D-97D9-E9EF-E456-06CED86FF7A5}"/>
              </a:ext>
            </a:extLst>
          </p:cNvPr>
          <p:cNvSpPr txBox="1"/>
          <p:nvPr/>
        </p:nvSpPr>
        <p:spPr>
          <a:xfrm>
            <a:off x="8285667" y="1422292"/>
            <a:ext cx="3775153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PE" b="1" dirty="0"/>
              <a:t>Objetivo: </a:t>
            </a:r>
          </a:p>
          <a:p>
            <a:r>
              <a:rPr lang="es-PE" dirty="0"/>
              <a:t>…..</a:t>
            </a:r>
          </a:p>
          <a:p>
            <a:r>
              <a:rPr lang="es-PE" dirty="0"/>
              <a:t>….</a:t>
            </a:r>
          </a:p>
          <a:p>
            <a:r>
              <a:rPr lang="es-PE" dirty="0"/>
              <a:t>.</a:t>
            </a:r>
            <a:endParaRPr lang="es-PE" b="1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22DFB23-088E-10F4-C444-1C6FE34FF9BF}"/>
              </a:ext>
            </a:extLst>
          </p:cNvPr>
          <p:cNvSpPr txBox="1"/>
          <p:nvPr/>
        </p:nvSpPr>
        <p:spPr>
          <a:xfrm>
            <a:off x="8285666" y="2789047"/>
            <a:ext cx="3775153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PE" b="1" dirty="0"/>
              <a:t>Problemáticas: </a:t>
            </a:r>
          </a:p>
          <a:p>
            <a:r>
              <a:rPr lang="es-PE" b="1" dirty="0"/>
              <a:t>1.</a:t>
            </a:r>
          </a:p>
          <a:p>
            <a:r>
              <a:rPr lang="es-PE" b="1" dirty="0"/>
              <a:t>2.</a:t>
            </a:r>
          </a:p>
          <a:p>
            <a:r>
              <a:rPr lang="es-PE" b="1" dirty="0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3462309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F0301F8D-352C-46D3-8E9C-47CA1766E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 dirty="0">
              <a:solidFill>
                <a:prstClr val="black"/>
              </a:solidFill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31B68FC-C6AB-45B6-8D37-9F2FE7B8A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white"/>
                </a:solidFill>
              </a:rPr>
              <a:pPr defTabSz="877739"/>
              <a:t>5</a:t>
            </a:fld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10" name="Título 3">
            <a:extLst>
              <a:ext uri="{FF2B5EF4-FFF2-40B4-BE49-F238E27FC236}">
                <a16:creationId xmlns:a16="http://schemas.microsoft.com/office/drawing/2014/main" id="{BF70B44A-4287-0C81-2D8B-A5932B0BB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53" y="59688"/>
            <a:ext cx="11750094" cy="582368"/>
          </a:xfrm>
        </p:spPr>
        <p:txBody>
          <a:bodyPr/>
          <a:lstStyle/>
          <a:p>
            <a:r>
              <a:rPr lang="pt-BR" dirty="0" err="1">
                <a:latin typeface="Arial Narrow" panose="020B0606020202030204" pitchFamily="34" charset="0"/>
              </a:rPr>
              <a:t>Arquitectura</a:t>
            </a:r>
            <a:r>
              <a:rPr lang="pt-BR" dirty="0">
                <a:latin typeface="Arial Narrow" panose="020B0606020202030204" pitchFamily="34" charset="0"/>
              </a:rPr>
              <a:t> </a:t>
            </a:r>
            <a:r>
              <a:rPr lang="es-ES" dirty="0">
                <a:latin typeface="Arial Narrow" panose="020B0606020202030204" pitchFamily="34" charset="0"/>
              </a:rPr>
              <a:t>TO BE – [Nombre de Iniciativa o Proyecto]</a:t>
            </a:r>
            <a:endParaRPr lang="es-PE" dirty="0">
              <a:latin typeface="Arial Narrow" panose="020B060602020203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54D699C-23AD-33C4-DB07-02908934171E}"/>
              </a:ext>
            </a:extLst>
          </p:cNvPr>
          <p:cNvSpPr txBox="1"/>
          <p:nvPr/>
        </p:nvSpPr>
        <p:spPr>
          <a:xfrm>
            <a:off x="8285667" y="1422292"/>
            <a:ext cx="3775153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PE" b="1" dirty="0"/>
              <a:t>Sustentación: </a:t>
            </a:r>
          </a:p>
          <a:p>
            <a:r>
              <a:rPr lang="es-PE" dirty="0"/>
              <a:t>…..</a:t>
            </a:r>
          </a:p>
          <a:p>
            <a:r>
              <a:rPr lang="es-PE" dirty="0"/>
              <a:t>….</a:t>
            </a:r>
          </a:p>
          <a:p>
            <a:r>
              <a:rPr lang="es-PE" dirty="0"/>
              <a:t>.</a:t>
            </a:r>
            <a:endParaRPr lang="es-PE" b="1" dirty="0"/>
          </a:p>
        </p:txBody>
      </p:sp>
    </p:spTree>
    <p:extLst>
      <p:ext uri="{BB962C8B-B14F-4D97-AF65-F5344CB8AC3E}">
        <p14:creationId xmlns:p14="http://schemas.microsoft.com/office/powerpoint/2010/main" val="27408786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F0301F8D-352C-46D3-8E9C-47CA1766E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 dirty="0">
              <a:solidFill>
                <a:prstClr val="black"/>
              </a:solidFill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31B68FC-C6AB-45B6-8D37-9F2FE7B8A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77739"/>
            <a:fld id="{41325116-9077-4A48-8B35-19E31762FCCE}" type="slidenum">
              <a:rPr lang="es-ES_tradnl" smtClean="0">
                <a:solidFill>
                  <a:prstClr val="white"/>
                </a:solidFill>
              </a:rPr>
              <a:pPr defTabSz="877739"/>
              <a:t>6</a:t>
            </a:fld>
            <a:endParaRPr lang="es-ES_tradnl">
              <a:solidFill>
                <a:prstClr val="white"/>
              </a:solidFill>
            </a:endParaRPr>
          </a:p>
        </p:txBody>
      </p:sp>
      <p:sp>
        <p:nvSpPr>
          <p:cNvPr id="8" name="Título 3">
            <a:extLst>
              <a:ext uri="{FF2B5EF4-FFF2-40B4-BE49-F238E27FC236}">
                <a16:creationId xmlns:a16="http://schemas.microsoft.com/office/drawing/2014/main" id="{D43F1A19-F65D-4645-4C6A-FF4316DA4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53" y="0"/>
            <a:ext cx="11750094" cy="582368"/>
          </a:xfrm>
        </p:spPr>
        <p:txBody>
          <a:bodyPr/>
          <a:lstStyle/>
          <a:p>
            <a:r>
              <a:rPr lang="pt-BR" dirty="0" err="1">
                <a:latin typeface="Arial Narrow" panose="020B0606020202030204" pitchFamily="34" charset="0"/>
              </a:rPr>
              <a:t>Arquitectura</a:t>
            </a:r>
            <a:r>
              <a:rPr lang="pt-BR" dirty="0">
                <a:latin typeface="Arial Narrow" panose="020B0606020202030204" pitchFamily="34" charset="0"/>
              </a:rPr>
              <a:t> </a:t>
            </a:r>
            <a:r>
              <a:rPr lang="es-ES" dirty="0">
                <a:latin typeface="Arial Narrow" panose="020B0606020202030204" pitchFamily="34" charset="0"/>
              </a:rPr>
              <a:t>Transitoria – [Nombre de Iniciativa o Proyecto</a:t>
            </a:r>
            <a:r>
              <a:rPr lang="es-PE" dirty="0">
                <a:latin typeface="Arial Narrow" panose="020B0606020202030204" pitchFamily="34" charset="0"/>
              </a:rPr>
              <a:t>]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C0078D3E-A082-E150-1D36-A716E7263E52}"/>
              </a:ext>
            </a:extLst>
          </p:cNvPr>
          <p:cNvSpPr txBox="1"/>
          <p:nvPr/>
        </p:nvSpPr>
        <p:spPr>
          <a:xfrm>
            <a:off x="8285667" y="1422292"/>
            <a:ext cx="3775153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PE" b="1" dirty="0"/>
              <a:t>Ventajas: </a:t>
            </a:r>
          </a:p>
          <a:p>
            <a:r>
              <a:rPr lang="es-PE" dirty="0"/>
              <a:t>1. </a:t>
            </a:r>
          </a:p>
          <a:p>
            <a:r>
              <a:rPr lang="es-PE" dirty="0"/>
              <a:t>2.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21FBFFD-ED1F-7C54-0367-45A90136D548}"/>
              </a:ext>
            </a:extLst>
          </p:cNvPr>
          <p:cNvSpPr txBox="1"/>
          <p:nvPr/>
        </p:nvSpPr>
        <p:spPr>
          <a:xfrm>
            <a:off x="8334299" y="3009384"/>
            <a:ext cx="3775153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PE" b="1" dirty="0"/>
              <a:t>Desventajas: </a:t>
            </a:r>
          </a:p>
          <a:p>
            <a:r>
              <a:rPr lang="es-PE" b="1" dirty="0"/>
              <a:t>1.</a:t>
            </a:r>
          </a:p>
          <a:p>
            <a:r>
              <a:rPr lang="es-PE" b="1" dirty="0"/>
              <a:t>2.</a:t>
            </a:r>
          </a:p>
        </p:txBody>
      </p:sp>
    </p:spTree>
    <p:extLst>
      <p:ext uri="{BB962C8B-B14F-4D97-AF65-F5344CB8AC3E}">
        <p14:creationId xmlns:p14="http://schemas.microsoft.com/office/powerpoint/2010/main" val="10187891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03073F-7F28-384B-BCD2-9F751B0633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">
            <a:extLst>
              <a:ext uri="{FF2B5EF4-FFF2-40B4-BE49-F238E27FC236}">
                <a16:creationId xmlns:a16="http://schemas.microsoft.com/office/drawing/2014/main" id="{1822011E-A0B9-BBE1-8F73-EEBF1BCAFD46}"/>
              </a:ext>
            </a:extLst>
          </p:cNvPr>
          <p:cNvSpPr txBox="1">
            <a:spLocks/>
          </p:cNvSpPr>
          <p:nvPr/>
        </p:nvSpPr>
        <p:spPr>
          <a:xfrm>
            <a:off x="3258514" y="2271184"/>
            <a:ext cx="5862515" cy="15307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85716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s-ES" sz="2879" b="1" i="1" dirty="0">
                <a:solidFill>
                  <a:srgbClr val="002D74"/>
                </a:solidFill>
                <a:latin typeface="Arial Narrow" panose="020B0606020202030204" pitchFamily="34" charset="0"/>
                <a:cs typeface="+mj-cs"/>
              </a:rPr>
              <a:t>Gracias!!!</a:t>
            </a:r>
            <a:endParaRPr lang="es-PE" sz="2879" b="1" i="1" dirty="0">
              <a:solidFill>
                <a:srgbClr val="002D74"/>
              </a:solidFill>
              <a:latin typeface="Arial Narrow" panose="020B0606020202030204" pitchFamily="34" charset="0"/>
              <a:cs typeface="+mj-cs"/>
            </a:endParaRP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06569A99-E17E-7A06-32C7-55A5FD070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77739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899737AB-BC6D-9DEE-E7F3-103EF4B1D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defTabSz="877739">
              <a:spcAft>
                <a:spcPts val="600"/>
              </a:spcAft>
            </a:pPr>
            <a:fld id="{41325116-9077-4A48-8B35-19E31762FCCE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877739">
                <a:spcAft>
                  <a:spcPts val="600"/>
                </a:spcAft>
              </a:pPr>
              <a:t>7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725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VI" val="true"/>
  <p:tag name="BLUEONEFOURTHTITLEFONTCOLORFIXED" val="true"/>
  <p:tag name="DARKLAYOUTNAMESCHANGEDTOCONTRAST" val="true"/>
  <p:tag name="ICONFILLBACKGROUND" val="Color [A=255, R=0, G=74, B=143]"/>
  <p:tag name="ICONFILLBACKGROUNDTHEME" val=""/>
  <p:tag name="ICONENCLOSURE" val="False"/>
  <p:tag name="ICONLINEFILL" val="Color [A=255, R=255, G=192, B=0]"/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5&quot;&gt;&lt;elem m_fUsage=&quot;2.70999999999999996447E+00&quot;&gt;&lt;m_msothmcolidx val=&quot;0&quot;/&gt;&lt;m_rgb r=&quot;E7&quot; g=&quot;28&quot; b=&quot;1E&quot;/&gt;&lt;/elem&gt;&lt;elem m_fUsage=&quot;1.38509999999999999787E+00&quot;&gt;&lt;m_msothmcolidx val=&quot;0&quot;/&gt;&lt;m_rgb r=&quot;FF&quot; g=&quot;DF&quot; b=&quot;DF&quot;/&gt;&lt;/elem&gt;&lt;elem m_fUsage=&quot;5.90490000000000181402E-01&quot;&gt;&lt;m_msothmcolidx val=&quot;0&quot;/&gt;&lt;m_rgb r=&quot;FE&quot; g=&quot;D2&quot; b=&quot;CD&quot;/&gt;&lt;/elem&gt;&lt;elem m_fUsage=&quot;5.31441000000000163261E-01&quot;&gt;&lt;m_msothmcolidx val=&quot;0&quot;/&gt;&lt;m_rgb r=&quot;B6&quot; g=&quot;DC&quot; b=&quot;FF&quot;/&gt;&lt;/elem&gt;&lt;elem m_fUsage=&quot;4.78296900000000135833E-01&quot;&gt;&lt;m_msothmcolidx val=&quot;0&quot;/&gt;&lt;m_rgb r=&quot;CD&quot; g=&quot;20&quot; b=&quot;2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.i6fcWQ8mU7bayV2YBl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.i6fcWQ8mU7bayV2YBl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EDznAysrm7uAxBKgKLV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.i6fcWQ8mU7bayV2YBl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.i6fcWQ8mU7bayV2YBl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EDznAysrm7uAxBKgKLV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AXwUOMF3tkihHXEiYr2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RHVdwUBWjwTu4_0MEjI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QwXaAW.6xWJYI08MsR_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Contrast">
  <a:themeElements>
    <a:clrScheme name="BCP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CCCCCC"/>
      </a:accent1>
      <a:accent2>
        <a:srgbClr val="808080"/>
      </a:accent2>
      <a:accent3>
        <a:srgbClr val="595959"/>
      </a:accent3>
      <a:accent4>
        <a:srgbClr val="004A8F"/>
      </a:accent4>
      <a:accent5>
        <a:srgbClr val="F39D1D"/>
      </a:accent5>
      <a:accent6>
        <a:srgbClr val="808080"/>
      </a:accent6>
      <a:hlink>
        <a:srgbClr val="595959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CP">
        <a:dk1>
          <a:srgbClr val="000000"/>
        </a:dk1>
        <a:lt1>
          <a:srgbClr val="FFFFFF"/>
        </a:lt1>
        <a:dk2>
          <a:srgbClr val="595959"/>
        </a:dk2>
        <a:lt2>
          <a:srgbClr val="FFFFFF"/>
        </a:lt2>
        <a:accent1>
          <a:srgbClr val="CCCCCC"/>
        </a:accent1>
        <a:accent2>
          <a:srgbClr val="808080"/>
        </a:accent2>
        <a:accent3>
          <a:srgbClr val="595959"/>
        </a:accent3>
        <a:accent4>
          <a:srgbClr val="004A8F"/>
        </a:accent4>
        <a:accent5>
          <a:srgbClr val="F39D1D"/>
        </a:accent5>
        <a:accent6>
          <a:srgbClr val="808080"/>
        </a:accent6>
        <a:hlink>
          <a:srgbClr val="595959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2.xml><?xml version="1.0" encoding="utf-8"?>
<a:theme xmlns:a="http://schemas.openxmlformats.org/drawingml/2006/main" name="7_Firm Format - template_Contrast">
  <a:themeElements>
    <a:clrScheme name="BCP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CCCCCC"/>
      </a:accent1>
      <a:accent2>
        <a:srgbClr val="808080"/>
      </a:accent2>
      <a:accent3>
        <a:srgbClr val="595959"/>
      </a:accent3>
      <a:accent4>
        <a:srgbClr val="004A8F"/>
      </a:accent4>
      <a:accent5>
        <a:srgbClr val="F39D1D"/>
      </a:accent5>
      <a:accent6>
        <a:srgbClr val="808080"/>
      </a:accent6>
      <a:hlink>
        <a:srgbClr val="595959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lIns="0" tIns="0" rIns="0" bIns="18288" anchor="t">
        <a:spAutoFit/>
      </a:bodyPr>
      <a:lstStyle>
        <a:defPPr algn="l">
          <a:defRPr sz="1300" b="1" baseline="0" noProof="0" dirty="0">
            <a:latin typeface="+mn-lt"/>
            <a:ea typeface="+mn-ea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CP">
        <a:dk1>
          <a:srgbClr val="000000"/>
        </a:dk1>
        <a:lt1>
          <a:srgbClr val="FFFFFF"/>
        </a:lt1>
        <a:dk2>
          <a:srgbClr val="595959"/>
        </a:dk2>
        <a:lt2>
          <a:srgbClr val="FFFFFF"/>
        </a:lt2>
        <a:accent1>
          <a:srgbClr val="CCCCCC"/>
        </a:accent1>
        <a:accent2>
          <a:srgbClr val="808080"/>
        </a:accent2>
        <a:accent3>
          <a:srgbClr val="595959"/>
        </a:accent3>
        <a:accent4>
          <a:srgbClr val="004A8F"/>
        </a:accent4>
        <a:accent5>
          <a:srgbClr val="F39D1D"/>
        </a:accent5>
        <a:accent6>
          <a:srgbClr val="808080"/>
        </a:accent6>
        <a:hlink>
          <a:srgbClr val="595959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3.xml><?xml version="1.0" encoding="utf-8"?>
<a:theme xmlns:a="http://schemas.openxmlformats.org/drawingml/2006/main" name="8_Firm Format - template_Contrast">
  <a:themeElements>
    <a:clrScheme name="BCP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CCCCCC"/>
      </a:accent1>
      <a:accent2>
        <a:srgbClr val="808080"/>
      </a:accent2>
      <a:accent3>
        <a:srgbClr val="595959"/>
      </a:accent3>
      <a:accent4>
        <a:srgbClr val="004A8F"/>
      </a:accent4>
      <a:accent5>
        <a:srgbClr val="F39D1D"/>
      </a:accent5>
      <a:accent6>
        <a:srgbClr val="808080"/>
      </a:accent6>
      <a:hlink>
        <a:srgbClr val="595959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lIns="0" tIns="0" rIns="0" bIns="18288" anchor="t">
        <a:spAutoFit/>
      </a:bodyPr>
      <a:lstStyle>
        <a:defPPr algn="l">
          <a:defRPr sz="1300" b="1" baseline="0" noProof="0" dirty="0">
            <a:latin typeface="+mn-lt"/>
            <a:ea typeface="+mn-ea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CP">
        <a:dk1>
          <a:srgbClr val="000000"/>
        </a:dk1>
        <a:lt1>
          <a:srgbClr val="FFFFFF"/>
        </a:lt1>
        <a:dk2>
          <a:srgbClr val="595959"/>
        </a:dk2>
        <a:lt2>
          <a:srgbClr val="FFFFFF"/>
        </a:lt2>
        <a:accent1>
          <a:srgbClr val="CCCCCC"/>
        </a:accent1>
        <a:accent2>
          <a:srgbClr val="808080"/>
        </a:accent2>
        <a:accent3>
          <a:srgbClr val="595959"/>
        </a:accent3>
        <a:accent4>
          <a:srgbClr val="004A8F"/>
        </a:accent4>
        <a:accent5>
          <a:srgbClr val="F39D1D"/>
        </a:accent5>
        <a:accent6>
          <a:srgbClr val="808080"/>
        </a:accent6>
        <a:hlink>
          <a:srgbClr val="595959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4.xml><?xml version="1.0" encoding="utf-8"?>
<a:theme xmlns:a="http://schemas.openxmlformats.org/drawingml/2006/main" name="9_Firm Format - template_Contrast">
  <a:themeElements>
    <a:clrScheme name="BCP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CCCCCC"/>
      </a:accent1>
      <a:accent2>
        <a:srgbClr val="808080"/>
      </a:accent2>
      <a:accent3>
        <a:srgbClr val="595959"/>
      </a:accent3>
      <a:accent4>
        <a:srgbClr val="004A8F"/>
      </a:accent4>
      <a:accent5>
        <a:srgbClr val="F39D1D"/>
      </a:accent5>
      <a:accent6>
        <a:srgbClr val="808080"/>
      </a:accent6>
      <a:hlink>
        <a:srgbClr val="595959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lIns="0" tIns="0" rIns="0" bIns="18288" anchor="t">
        <a:spAutoFit/>
      </a:bodyPr>
      <a:lstStyle>
        <a:defPPr algn="l">
          <a:defRPr sz="1300" b="1" baseline="0" noProof="0" dirty="0">
            <a:latin typeface="+mn-lt"/>
            <a:ea typeface="+mn-ea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CP">
        <a:dk1>
          <a:srgbClr val="000000"/>
        </a:dk1>
        <a:lt1>
          <a:srgbClr val="FFFFFF"/>
        </a:lt1>
        <a:dk2>
          <a:srgbClr val="595959"/>
        </a:dk2>
        <a:lt2>
          <a:srgbClr val="FFFFFF"/>
        </a:lt2>
        <a:accent1>
          <a:srgbClr val="CCCCCC"/>
        </a:accent1>
        <a:accent2>
          <a:srgbClr val="808080"/>
        </a:accent2>
        <a:accent3>
          <a:srgbClr val="595959"/>
        </a:accent3>
        <a:accent4>
          <a:srgbClr val="004A8F"/>
        </a:accent4>
        <a:accent5>
          <a:srgbClr val="F39D1D"/>
        </a:accent5>
        <a:accent6>
          <a:srgbClr val="808080"/>
        </a:accent6>
        <a:hlink>
          <a:srgbClr val="595959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5.xml><?xml version="1.0" encoding="utf-8"?>
<a:theme xmlns:a="http://schemas.openxmlformats.org/drawingml/2006/main" name="1_Firm Format - template_Blue">
  <a:themeElements>
    <a:clrScheme name="BCP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CCCCCC"/>
      </a:accent1>
      <a:accent2>
        <a:srgbClr val="808080"/>
      </a:accent2>
      <a:accent3>
        <a:srgbClr val="595959"/>
      </a:accent3>
      <a:accent4>
        <a:srgbClr val="004A8F"/>
      </a:accent4>
      <a:accent5>
        <a:srgbClr val="F39D1D"/>
      </a:accent5>
      <a:accent6>
        <a:srgbClr val="808080"/>
      </a:accent6>
      <a:hlink>
        <a:srgbClr val="595959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CP">
        <a:dk1>
          <a:srgbClr val="000000"/>
        </a:dk1>
        <a:lt1>
          <a:srgbClr val="FFFFFF"/>
        </a:lt1>
        <a:dk2>
          <a:srgbClr val="595959"/>
        </a:dk2>
        <a:lt2>
          <a:srgbClr val="FFFFFF"/>
        </a:lt2>
        <a:accent1>
          <a:srgbClr val="CCCCCC"/>
        </a:accent1>
        <a:accent2>
          <a:srgbClr val="808080"/>
        </a:accent2>
        <a:accent3>
          <a:srgbClr val="595959"/>
        </a:accent3>
        <a:accent4>
          <a:srgbClr val="004A8F"/>
        </a:accent4>
        <a:accent5>
          <a:srgbClr val="F39D1D"/>
        </a:accent5>
        <a:accent6>
          <a:srgbClr val="808080"/>
        </a:accent6>
        <a:hlink>
          <a:srgbClr val="595959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6.xml><?xml version="1.0" encoding="utf-8"?>
<a:theme xmlns:a="http://schemas.openxmlformats.org/drawingml/2006/main" name="2_Firm Format - template_Blue">
  <a:themeElements>
    <a:clrScheme name="BCP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CCCCCC"/>
      </a:accent1>
      <a:accent2>
        <a:srgbClr val="808080"/>
      </a:accent2>
      <a:accent3>
        <a:srgbClr val="595959"/>
      </a:accent3>
      <a:accent4>
        <a:srgbClr val="004A8F"/>
      </a:accent4>
      <a:accent5>
        <a:srgbClr val="F39D1D"/>
      </a:accent5>
      <a:accent6>
        <a:srgbClr val="808080"/>
      </a:accent6>
      <a:hlink>
        <a:srgbClr val="595959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CP">
        <a:dk1>
          <a:srgbClr val="000000"/>
        </a:dk1>
        <a:lt1>
          <a:srgbClr val="FFFFFF"/>
        </a:lt1>
        <a:dk2>
          <a:srgbClr val="595959"/>
        </a:dk2>
        <a:lt2>
          <a:srgbClr val="FFFFFF"/>
        </a:lt2>
        <a:accent1>
          <a:srgbClr val="CCCCCC"/>
        </a:accent1>
        <a:accent2>
          <a:srgbClr val="808080"/>
        </a:accent2>
        <a:accent3>
          <a:srgbClr val="595959"/>
        </a:accent3>
        <a:accent4>
          <a:srgbClr val="004A8F"/>
        </a:accent4>
        <a:accent5>
          <a:srgbClr val="F39D1D"/>
        </a:accent5>
        <a:accent6>
          <a:srgbClr val="808080"/>
        </a:accent6>
        <a:hlink>
          <a:srgbClr val="595959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7.xml><?xml version="1.0" encoding="utf-8"?>
<a:theme xmlns:a="http://schemas.openxmlformats.org/drawingml/2006/main" name="3_Firm Format - template_Contrast">
  <a:themeElements>
    <a:clrScheme name="BCP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CCCCCC"/>
      </a:accent1>
      <a:accent2>
        <a:srgbClr val="808080"/>
      </a:accent2>
      <a:accent3>
        <a:srgbClr val="595959"/>
      </a:accent3>
      <a:accent4>
        <a:srgbClr val="004A8F"/>
      </a:accent4>
      <a:accent5>
        <a:srgbClr val="F39D1D"/>
      </a:accent5>
      <a:accent6>
        <a:srgbClr val="808080"/>
      </a:accent6>
      <a:hlink>
        <a:srgbClr val="595959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lIns="0" tIns="0" rIns="0" bIns="18288" anchor="t">
        <a:spAutoFit/>
      </a:bodyPr>
      <a:lstStyle>
        <a:defPPr algn="l">
          <a:defRPr sz="1300" b="1" baseline="0" noProof="0" dirty="0">
            <a:latin typeface="+mn-lt"/>
            <a:ea typeface="+mn-ea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CP">
        <a:dk1>
          <a:srgbClr val="000000"/>
        </a:dk1>
        <a:lt1>
          <a:srgbClr val="FFFFFF"/>
        </a:lt1>
        <a:dk2>
          <a:srgbClr val="595959"/>
        </a:dk2>
        <a:lt2>
          <a:srgbClr val="FFFFFF"/>
        </a:lt2>
        <a:accent1>
          <a:srgbClr val="CCCCCC"/>
        </a:accent1>
        <a:accent2>
          <a:srgbClr val="808080"/>
        </a:accent2>
        <a:accent3>
          <a:srgbClr val="595959"/>
        </a:accent3>
        <a:accent4>
          <a:srgbClr val="004A8F"/>
        </a:accent4>
        <a:accent5>
          <a:srgbClr val="F39D1D"/>
        </a:accent5>
        <a:accent6>
          <a:srgbClr val="808080"/>
        </a:accent6>
        <a:hlink>
          <a:srgbClr val="595959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8.xml><?xml version="1.0" encoding="utf-8"?>
<a:theme xmlns:a="http://schemas.openxmlformats.org/drawingml/2006/main" name="6_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10519 Reunión Harold.potx" id="{454B1A3B-199D-4B68-BEAB-5C2F5EA8303E}" vid="{E97536A6-00F0-4ABF-926D-A8DA4116E78D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bf61b66-c645-4210-a306-af4773d4c9c8">
      <UserInfo>
        <DisplayName>Freddy Murillo</DisplayName>
        <AccountId>27</AccountId>
        <AccountType/>
      </UserInfo>
      <UserInfo>
        <DisplayName>SharingLinks.6819fd98-4333-4c75-9bdd-d9be12373def.OrganizationEdit.019ceea5-f697-4e7c-8ef0-415eeb84da99</DisplayName>
        <AccountId>134</AccountId>
        <AccountType/>
      </UserInfo>
      <UserInfo>
        <DisplayName>Gabriela Ricse Caysahuana</DisplayName>
        <AccountId>135</AccountId>
        <AccountType/>
      </UserInfo>
    </SharedWithUsers>
    <TaxCatchAll xmlns="dbf61b66-c645-4210-a306-af4773d4c9c8" xsi:nil="true"/>
    <etiqueta xmlns="d57628d5-5326-42fd-a135-bb3c5fb41955" xsi:nil="true"/>
    <lcf76f155ced4ddcb4097134ff3c332f xmlns="d57628d5-5326-42fd-a135-bb3c5fb41955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74406CE3763D743BEEFAE8D149AB732" ma:contentTypeVersion="16" ma:contentTypeDescription="Crear nuevo documento." ma:contentTypeScope="" ma:versionID="d522b86722077b4ed7c599a575f3053b">
  <xsd:schema xmlns:xsd="http://www.w3.org/2001/XMLSchema" xmlns:xs="http://www.w3.org/2001/XMLSchema" xmlns:p="http://schemas.microsoft.com/office/2006/metadata/properties" xmlns:ns2="d57628d5-5326-42fd-a135-bb3c5fb41955" xmlns:ns3="dbf61b66-c645-4210-a306-af4773d4c9c8" targetNamespace="http://schemas.microsoft.com/office/2006/metadata/properties" ma:root="true" ma:fieldsID="ed33990c1401beb562575745613c51c0" ns2:_="" ns3:_="">
    <xsd:import namespace="d57628d5-5326-42fd-a135-bb3c5fb41955"/>
    <xsd:import namespace="dbf61b66-c645-4210-a306-af4773d4c9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etique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628d5-5326-42fd-a135-bb3c5fb419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etiqueta" ma:index="23" nillable="true" ma:displayName="etiqueta" ma:internalName="etiqueta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f61b66-c645-4210-a306-af4773d4c9c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dfba440-15a8-43b0-8338-229eed1b366f}" ma:internalName="TaxCatchAll" ma:showField="CatchAllData" ma:web="dbf61b66-c645-4210-a306-af4773d4c9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CA782EA-A035-46F4-8D08-7DD930F9564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52CCAA3-EF8B-45BD-81B7-C6C9E010A585}">
  <ds:schemaRefs>
    <ds:schemaRef ds:uri="d57628d5-5326-42fd-a135-bb3c5fb41955"/>
    <ds:schemaRef ds:uri="dbf61b66-c645-4210-a306-af4773d4c9c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C0451E6-5CA0-42CB-A42D-FCED1C7AD442}">
  <ds:schemaRefs>
    <ds:schemaRef ds:uri="d57628d5-5326-42fd-a135-bb3c5fb41955"/>
    <ds:schemaRef ds:uri="dbf61b66-c645-4210-a306-af4773d4c9c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c15ead3b-a842-409e-8059-3e3468c48585}" enabled="1" method="Standard" siteId="{5d93ebcc-f769-4380-8b7e-289fc972da1b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18875</TotalTime>
  <Words>210</Words>
  <Application>Microsoft Office PowerPoint</Application>
  <PresentationFormat>Panorámica</PresentationFormat>
  <Paragraphs>55</Paragraphs>
  <Slides>7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28" baseType="lpstr">
      <vt:lpstr>Arial</vt:lpstr>
      <vt:lpstr>Arial Narrow</vt:lpstr>
      <vt:lpstr>Calibri</vt:lpstr>
      <vt:lpstr>Eras Bold ITC</vt:lpstr>
      <vt:lpstr>Flexo</vt:lpstr>
      <vt:lpstr>Flexo Light</vt:lpstr>
      <vt:lpstr>Flexo Medium</vt:lpstr>
      <vt:lpstr>Georgia</vt:lpstr>
      <vt:lpstr>Tahoma</vt:lpstr>
      <vt:lpstr>Theinhardt Pan Light</vt:lpstr>
      <vt:lpstr>Trebuchet MS</vt:lpstr>
      <vt:lpstr>Wingdings</vt:lpstr>
      <vt:lpstr>Firm Format - template_Contrast</vt:lpstr>
      <vt:lpstr>7_Firm Format - template_Contrast</vt:lpstr>
      <vt:lpstr>8_Firm Format - template_Contrast</vt:lpstr>
      <vt:lpstr>9_Firm Format - template_Contrast</vt:lpstr>
      <vt:lpstr>1_Firm Format - template_Blue</vt:lpstr>
      <vt:lpstr>2_Firm Format - template_Blue</vt:lpstr>
      <vt:lpstr>3_Firm Format - template_Contrast</vt:lpstr>
      <vt:lpstr>6_Tema de Office</vt:lpstr>
      <vt:lpstr>Diapositiva de think-cell</vt:lpstr>
      <vt:lpstr>Presentación de PowerPoint</vt:lpstr>
      <vt:lpstr>Iniciativa: [Nombre de iniciativa]</vt:lpstr>
      <vt:lpstr>Diseño de estrategia de datos</vt:lpstr>
      <vt:lpstr>Arquitectura AS IS – [Iniciativa o Nombre de Proyecto]</vt:lpstr>
      <vt:lpstr>Arquitectura TO BE – [Nombre de Iniciativa o Proyecto]</vt:lpstr>
      <vt:lpstr>Arquitectura Transitoria – [Nombre de Iniciativa o Proyecto]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cing To-Be Plannification Phase</dc:title>
  <dc:creator>Diego Castillo</dc:creator>
  <cp:lastModifiedBy>Jose López - EMP.PROV. - INDRA</cp:lastModifiedBy>
  <cp:revision>89</cp:revision>
  <dcterms:created xsi:type="dcterms:W3CDTF">2020-11-03T19:16:07Z</dcterms:created>
  <dcterms:modified xsi:type="dcterms:W3CDTF">2025-06-24T15:1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406CE3763D743BEEFAE8D149AB732</vt:lpwstr>
  </property>
  <property fmtid="{D5CDD505-2E9C-101B-9397-08002B2CF9AE}" pid="3" name="MediaServiceImageTags">
    <vt:lpwstr/>
  </property>
  <property fmtid="{D5CDD505-2E9C-101B-9397-08002B2CF9AE}" pid="4" name="MSIP_Label_c15ead3b-a842-409e-8059-3e3468c48585_Enabled">
    <vt:lpwstr>true</vt:lpwstr>
  </property>
  <property fmtid="{D5CDD505-2E9C-101B-9397-08002B2CF9AE}" pid="5" name="MSIP_Label_c15ead3b-a842-409e-8059-3e3468c48585_SetDate">
    <vt:lpwstr>2023-11-28T15:31:19Z</vt:lpwstr>
  </property>
  <property fmtid="{D5CDD505-2E9C-101B-9397-08002B2CF9AE}" pid="6" name="MSIP_Label_c15ead3b-a842-409e-8059-3e3468c48585_Method">
    <vt:lpwstr>Standard</vt:lpwstr>
  </property>
  <property fmtid="{D5CDD505-2E9C-101B-9397-08002B2CF9AE}" pid="7" name="MSIP_Label_c15ead3b-a842-409e-8059-3e3468c48585_Name">
    <vt:lpwstr>Interna BCP</vt:lpwstr>
  </property>
  <property fmtid="{D5CDD505-2E9C-101B-9397-08002B2CF9AE}" pid="8" name="MSIP_Label_c15ead3b-a842-409e-8059-3e3468c48585_SiteId">
    <vt:lpwstr>5d93ebcc-f769-4380-8b7e-289fc972da1b</vt:lpwstr>
  </property>
  <property fmtid="{D5CDD505-2E9C-101B-9397-08002B2CF9AE}" pid="9" name="MSIP_Label_c15ead3b-a842-409e-8059-3e3468c48585_ActionId">
    <vt:lpwstr>ce199a69-1481-496f-abc9-94175a8f801f</vt:lpwstr>
  </property>
  <property fmtid="{D5CDD505-2E9C-101B-9397-08002B2CF9AE}" pid="10" name="MSIP_Label_c15ead3b-a842-409e-8059-3e3468c48585_ContentBits">
    <vt:lpwstr>2</vt:lpwstr>
  </property>
  <property fmtid="{D5CDD505-2E9C-101B-9397-08002B2CF9AE}" pid="11" name="ClassificationContentMarkingFooterLocations">
    <vt:lpwstr>Firm Format - template_Contrast:4\7_Firm Format - template_Contrast:4\8_Firm Format - template_Contrast:4\9_Firm Format - template_Contrast:4\1_Firm Format - template_Blue:5\2_Firm Format - template_Blue:5\3_Firm Format - template_Contrast:4\6_Tema de Office:7</vt:lpwstr>
  </property>
  <property fmtid="{D5CDD505-2E9C-101B-9397-08002B2CF9AE}" pid="12" name="ClassificationContentMarkingFooterText">
    <vt:lpwstr>Datos elaborados por BCP para uso Interno</vt:lpwstr>
  </property>
</Properties>
</file>